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42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252" r:id="rId11"/>
    <p:sldId id="2147470307" r:id="rId12"/>
    <p:sldId id="2147470253" r:id="rId13"/>
    <p:sldId id="2147470296" r:id="rId14"/>
    <p:sldId id="2147470308" r:id="rId15"/>
    <p:sldId id="2147470301" r:id="rId16"/>
    <p:sldId id="2147470309" r:id="rId17"/>
    <p:sldId id="2147470302" r:id="rId18"/>
    <p:sldId id="2147470310" r:id="rId19"/>
    <p:sldId id="2147470303" r:id="rId20"/>
    <p:sldId id="2147470311" r:id="rId21"/>
    <p:sldId id="2147470305" r:id="rId22"/>
    <p:sldId id="2147470313" r:id="rId23"/>
    <p:sldId id="2147470304" r:id="rId24"/>
    <p:sldId id="2147470312" r:id="rId25"/>
    <p:sldId id="2147470306" r:id="rId26"/>
    <p:sldId id="2147470314" r:id="rId27"/>
    <p:sldId id="2147470282" r:id="rId28"/>
    <p:sldId id="2147470299" r:id="rId29"/>
    <p:sldId id="2147470300" r:id="rId30"/>
    <p:sldId id="2147470316" r:id="rId31"/>
    <p:sldId id="2147470233" r:id="rId32"/>
    <p:sldId id="2147470245" r:id="rId33"/>
    <p:sldId id="2147470224" r:id="rId34"/>
    <p:sldId id="2147470254" r:id="rId35"/>
    <p:sldId id="2147470315" r:id="rId36"/>
    <p:sldId id="2147470255" r:id="rId37"/>
    <p:sldId id="2147470256" r:id="rId38"/>
    <p:sldId id="2147470257" r:id="rId39"/>
    <p:sldId id="2147470258" r:id="rId40"/>
    <p:sldId id="2147374605" r:id="rId4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252"/>
            <p14:sldId id="2147470307"/>
            <p14:sldId id="2147470253"/>
            <p14:sldId id="2147470296"/>
            <p14:sldId id="2147470308"/>
            <p14:sldId id="2147470301"/>
            <p14:sldId id="2147470309"/>
            <p14:sldId id="2147470302"/>
            <p14:sldId id="2147470310"/>
            <p14:sldId id="2147470303"/>
            <p14:sldId id="2147470311"/>
            <p14:sldId id="2147470305"/>
            <p14:sldId id="2147470313"/>
            <p14:sldId id="2147470304"/>
            <p14:sldId id="2147470312"/>
            <p14:sldId id="2147470306"/>
            <p14:sldId id="2147470314"/>
            <p14:sldId id="2147470282"/>
            <p14:sldId id="2147470299"/>
            <p14:sldId id="2147470300"/>
            <p14:sldId id="2147470316"/>
            <p14:sldId id="2147470233"/>
            <p14:sldId id="2147470245"/>
            <p14:sldId id="2147470224"/>
            <p14:sldId id="2147470254"/>
            <p14:sldId id="2147470315"/>
            <p14:sldId id="2147470255"/>
            <p14:sldId id="2147470256"/>
            <p14:sldId id="2147470257"/>
            <p14:sldId id="2147470258"/>
          </p14:sldIdLst>
        </p14:section>
        <p14:section name="Teste Multicluster" id="{5C627118-ABA7-4617-AC3B-978F7BDC5C1B}">
          <p14:sldIdLst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D9C9E4-D1AE-45AC-A839-3E72D235218A}" v="239" dt="2025-08-12T12:14:19.9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10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810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B2D14E4C-771A-44E5-B59A-2A7036F0B9A7}"/>
    <pc:docChg chg="undo redo custSel addSld delSld modSld modSection">
      <pc:chgData name="Alexandre Zanetti de Almeida" userId="129d4ce6-e715-4d33-b4c4-312f1656225b" providerId="ADAL" clId="{B2D14E4C-771A-44E5-B59A-2A7036F0B9A7}" dt="2025-06-05T17:47:44.532" v="1129" actId="113"/>
      <pc:docMkLst>
        <pc:docMk/>
      </pc:docMkLst>
      <pc:sldChg chg="modSp mod">
        <pc:chgData name="Alexandre Zanetti de Almeida" userId="129d4ce6-e715-4d33-b4c4-312f1656225b" providerId="ADAL" clId="{B2D14E4C-771A-44E5-B59A-2A7036F0B9A7}" dt="2025-05-27T12:32:35.035" v="77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B2D14E4C-771A-44E5-B59A-2A7036F0B9A7}" dt="2025-05-27T12:32:35.035" v="77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B2D14E4C-771A-44E5-B59A-2A7036F0B9A7}" dt="2025-06-04T17:34:16.753" v="950" actId="47"/>
        <pc:sldMkLst>
          <pc:docMk/>
          <pc:sldMk cId="2159936922" sldId="2147470237"/>
        </pc:sldMkLst>
      </pc:sldChg>
      <pc:sldChg chg="del">
        <pc:chgData name="Alexandre Zanetti de Almeida" userId="129d4ce6-e715-4d33-b4c4-312f1656225b" providerId="ADAL" clId="{B2D14E4C-771A-44E5-B59A-2A7036F0B9A7}" dt="2025-06-04T17:34:08.668" v="949" actId="47"/>
        <pc:sldMkLst>
          <pc:docMk/>
          <pc:sldMk cId="2262049528" sldId="2147470239"/>
        </pc:sldMkLst>
      </pc:sldChg>
      <pc:sldChg chg="addSp delSp modSp mod">
        <pc:chgData name="Alexandre Zanetti de Almeida" userId="129d4ce6-e715-4d33-b4c4-312f1656225b" providerId="ADAL" clId="{B2D14E4C-771A-44E5-B59A-2A7036F0B9A7}" dt="2025-06-04T17:35:03.746" v="955" actId="1076"/>
        <pc:sldMkLst>
          <pc:docMk/>
          <pc:sldMk cId="2698931172" sldId="2147470252"/>
        </pc:sldMkLst>
      </pc:sldChg>
      <pc:sldChg chg="modSp mod">
        <pc:chgData name="Alexandre Zanetti de Almeida" userId="129d4ce6-e715-4d33-b4c4-312f1656225b" providerId="ADAL" clId="{B2D14E4C-771A-44E5-B59A-2A7036F0B9A7}" dt="2025-05-22T14:17:36.872" v="2" actId="6549"/>
        <pc:sldMkLst>
          <pc:docMk/>
          <pc:sldMk cId="3968536791" sldId="2147470256"/>
        </pc:sldMkLst>
        <pc:spChg chg="mod">
          <ac:chgData name="Alexandre Zanetti de Almeida" userId="129d4ce6-e715-4d33-b4c4-312f1656225b" providerId="ADAL" clId="{B2D14E4C-771A-44E5-B59A-2A7036F0B9A7}" dt="2025-05-22T14:17:36.872" v="2" actId="6549"/>
          <ac:spMkLst>
            <pc:docMk/>
            <pc:sldMk cId="3968536791" sldId="2147470256"/>
            <ac:spMk id="4" creationId="{11A9C1AD-6E67-83D8-FB11-CB0C8F9D93D0}"/>
          </ac:spMkLst>
        </pc:spChg>
      </pc:sldChg>
      <pc:sldChg chg="addSp delSp modSp del mod">
        <pc:chgData name="Alexandre Zanetti de Almeida" userId="129d4ce6-e715-4d33-b4c4-312f1656225b" providerId="ADAL" clId="{B2D14E4C-771A-44E5-B59A-2A7036F0B9A7}" dt="2025-06-04T17:16:24.694" v="608" actId="47"/>
        <pc:sldMkLst>
          <pc:docMk/>
          <pc:sldMk cId="711146589" sldId="2147470260"/>
        </pc:sldMkLst>
      </pc:sldChg>
      <pc:sldChg chg="del">
        <pc:chgData name="Alexandre Zanetti de Almeida" userId="129d4ce6-e715-4d33-b4c4-312f1656225b" providerId="ADAL" clId="{B2D14E4C-771A-44E5-B59A-2A7036F0B9A7}" dt="2025-06-04T17:16:25.579" v="609" actId="47"/>
        <pc:sldMkLst>
          <pc:docMk/>
          <pc:sldMk cId="3740504343" sldId="2147470264"/>
        </pc:sldMkLst>
      </pc:sldChg>
      <pc:sldChg chg="del">
        <pc:chgData name="Alexandre Zanetti de Almeida" userId="129d4ce6-e715-4d33-b4c4-312f1656225b" providerId="ADAL" clId="{B2D14E4C-771A-44E5-B59A-2A7036F0B9A7}" dt="2025-06-04T17:16:27.129" v="611" actId="47"/>
        <pc:sldMkLst>
          <pc:docMk/>
          <pc:sldMk cId="932104382" sldId="2147470265"/>
        </pc:sldMkLst>
      </pc:sldChg>
      <pc:sldChg chg="del">
        <pc:chgData name="Alexandre Zanetti de Almeida" userId="129d4ce6-e715-4d33-b4c4-312f1656225b" providerId="ADAL" clId="{B2D14E4C-771A-44E5-B59A-2A7036F0B9A7}" dt="2025-06-04T17:16:26.265" v="610" actId="47"/>
        <pc:sldMkLst>
          <pc:docMk/>
          <pc:sldMk cId="1151922140" sldId="2147470266"/>
        </pc:sldMkLst>
      </pc:sldChg>
      <pc:sldChg chg="del">
        <pc:chgData name="Alexandre Zanetti de Almeida" userId="129d4ce6-e715-4d33-b4c4-312f1656225b" providerId="ADAL" clId="{B2D14E4C-771A-44E5-B59A-2A7036F0B9A7}" dt="2025-06-04T17:16:30.764" v="613" actId="47"/>
        <pc:sldMkLst>
          <pc:docMk/>
          <pc:sldMk cId="3400865459" sldId="2147470267"/>
        </pc:sldMkLst>
      </pc:sldChg>
      <pc:sldChg chg="del">
        <pc:chgData name="Alexandre Zanetti de Almeida" userId="129d4ce6-e715-4d33-b4c4-312f1656225b" providerId="ADAL" clId="{B2D14E4C-771A-44E5-B59A-2A7036F0B9A7}" dt="2025-06-04T17:16:31.314" v="614" actId="47"/>
        <pc:sldMkLst>
          <pc:docMk/>
          <pc:sldMk cId="3117851536" sldId="2147470268"/>
        </pc:sldMkLst>
      </pc:sldChg>
      <pc:sldChg chg="del">
        <pc:chgData name="Alexandre Zanetti de Almeida" userId="129d4ce6-e715-4d33-b4c4-312f1656225b" providerId="ADAL" clId="{B2D14E4C-771A-44E5-B59A-2A7036F0B9A7}" dt="2025-06-04T17:16:32.004" v="615" actId="47"/>
        <pc:sldMkLst>
          <pc:docMk/>
          <pc:sldMk cId="3782968705" sldId="2147470269"/>
        </pc:sldMkLst>
      </pc:sldChg>
      <pc:sldChg chg="del mod modShow">
        <pc:chgData name="Alexandre Zanetti de Almeida" userId="129d4ce6-e715-4d33-b4c4-312f1656225b" providerId="ADAL" clId="{B2D14E4C-771A-44E5-B59A-2A7036F0B9A7}" dt="2025-06-04T17:16:32.834" v="616" actId="47"/>
        <pc:sldMkLst>
          <pc:docMk/>
          <pc:sldMk cId="3086265038" sldId="2147470270"/>
        </pc:sldMkLst>
      </pc:sldChg>
      <pc:sldChg chg="del">
        <pc:chgData name="Alexandre Zanetti de Almeida" userId="129d4ce6-e715-4d33-b4c4-312f1656225b" providerId="ADAL" clId="{B2D14E4C-771A-44E5-B59A-2A7036F0B9A7}" dt="2025-06-04T17:16:37.945" v="619" actId="47"/>
        <pc:sldMkLst>
          <pc:docMk/>
          <pc:sldMk cId="2240363707" sldId="2147470271"/>
        </pc:sldMkLst>
      </pc:sldChg>
      <pc:sldChg chg="del">
        <pc:chgData name="Alexandre Zanetti de Almeida" userId="129d4ce6-e715-4d33-b4c4-312f1656225b" providerId="ADAL" clId="{B2D14E4C-771A-44E5-B59A-2A7036F0B9A7}" dt="2025-06-04T17:16:38.974" v="620" actId="47"/>
        <pc:sldMkLst>
          <pc:docMk/>
          <pc:sldMk cId="1308457340" sldId="2147470272"/>
        </pc:sldMkLst>
      </pc:sldChg>
      <pc:sldChg chg="del">
        <pc:chgData name="Alexandre Zanetti de Almeida" userId="129d4ce6-e715-4d33-b4c4-312f1656225b" providerId="ADAL" clId="{B2D14E4C-771A-44E5-B59A-2A7036F0B9A7}" dt="2025-06-04T17:16:39.969" v="621" actId="47"/>
        <pc:sldMkLst>
          <pc:docMk/>
          <pc:sldMk cId="4081688936" sldId="2147470273"/>
        </pc:sldMkLst>
      </pc:sldChg>
      <pc:sldChg chg="del">
        <pc:chgData name="Alexandre Zanetti de Almeida" userId="129d4ce6-e715-4d33-b4c4-312f1656225b" providerId="ADAL" clId="{B2D14E4C-771A-44E5-B59A-2A7036F0B9A7}" dt="2025-06-04T17:16:40.789" v="622" actId="47"/>
        <pc:sldMkLst>
          <pc:docMk/>
          <pc:sldMk cId="1140124133" sldId="2147470274"/>
        </pc:sldMkLst>
      </pc:sldChg>
      <pc:sldChg chg="del">
        <pc:chgData name="Alexandre Zanetti de Almeida" userId="129d4ce6-e715-4d33-b4c4-312f1656225b" providerId="ADAL" clId="{B2D14E4C-771A-44E5-B59A-2A7036F0B9A7}" dt="2025-06-04T17:16:44.306" v="624" actId="47"/>
        <pc:sldMkLst>
          <pc:docMk/>
          <pc:sldMk cId="1978506895" sldId="2147470275"/>
        </pc:sldMkLst>
      </pc:sldChg>
      <pc:sldChg chg="del">
        <pc:chgData name="Alexandre Zanetti de Almeida" userId="129d4ce6-e715-4d33-b4c4-312f1656225b" providerId="ADAL" clId="{B2D14E4C-771A-44E5-B59A-2A7036F0B9A7}" dt="2025-06-04T17:16:46.019" v="626" actId="47"/>
        <pc:sldMkLst>
          <pc:docMk/>
          <pc:sldMk cId="345051913" sldId="2147470276"/>
        </pc:sldMkLst>
      </pc:sldChg>
      <pc:sldChg chg="del">
        <pc:chgData name="Alexandre Zanetti de Almeida" userId="129d4ce6-e715-4d33-b4c4-312f1656225b" providerId="ADAL" clId="{B2D14E4C-771A-44E5-B59A-2A7036F0B9A7}" dt="2025-06-04T17:16:45.144" v="625" actId="47"/>
        <pc:sldMkLst>
          <pc:docMk/>
          <pc:sldMk cId="823643048" sldId="2147470277"/>
        </pc:sldMkLst>
      </pc:sldChg>
      <pc:sldChg chg="del mod modShow">
        <pc:chgData name="Alexandre Zanetti de Almeida" userId="129d4ce6-e715-4d33-b4c4-312f1656225b" providerId="ADAL" clId="{B2D14E4C-771A-44E5-B59A-2A7036F0B9A7}" dt="2025-06-04T17:16:46.908" v="627" actId="47"/>
        <pc:sldMkLst>
          <pc:docMk/>
          <pc:sldMk cId="2664406118" sldId="2147470278"/>
        </pc:sldMkLst>
      </pc:sldChg>
      <pc:sldChg chg="del">
        <pc:chgData name="Alexandre Zanetti de Almeida" userId="129d4ce6-e715-4d33-b4c4-312f1656225b" providerId="ADAL" clId="{B2D14E4C-771A-44E5-B59A-2A7036F0B9A7}" dt="2025-06-04T17:16:50.154" v="629" actId="47"/>
        <pc:sldMkLst>
          <pc:docMk/>
          <pc:sldMk cId="1056299241" sldId="2147470279"/>
        </pc:sldMkLst>
      </pc:sldChg>
      <pc:sldChg chg="del">
        <pc:chgData name="Alexandre Zanetti de Almeida" userId="129d4ce6-e715-4d33-b4c4-312f1656225b" providerId="ADAL" clId="{B2D14E4C-771A-44E5-B59A-2A7036F0B9A7}" dt="2025-06-04T17:16:50.959" v="630" actId="47"/>
        <pc:sldMkLst>
          <pc:docMk/>
          <pc:sldMk cId="4079523240" sldId="2147470280"/>
        </pc:sldMkLst>
      </pc:sldChg>
      <pc:sldChg chg="del">
        <pc:chgData name="Alexandre Zanetti de Almeida" userId="129d4ce6-e715-4d33-b4c4-312f1656225b" providerId="ADAL" clId="{B2D14E4C-771A-44E5-B59A-2A7036F0B9A7}" dt="2025-06-04T17:16:51.845" v="631" actId="47"/>
        <pc:sldMkLst>
          <pc:docMk/>
          <pc:sldMk cId="98271423" sldId="2147470281"/>
        </pc:sldMkLst>
      </pc:sldChg>
      <pc:sldChg chg="addSp delSp modSp mod">
        <pc:chgData name="Alexandre Zanetti de Almeida" userId="129d4ce6-e715-4d33-b4c4-312f1656225b" providerId="ADAL" clId="{B2D14E4C-771A-44E5-B59A-2A7036F0B9A7}" dt="2025-06-05T13:10:20.182" v="1001" actId="1076"/>
        <pc:sldMkLst>
          <pc:docMk/>
          <pc:sldMk cId="3670869292" sldId="2147470282"/>
        </pc:sldMkLst>
        <pc:spChg chg="mod">
          <ac:chgData name="Alexandre Zanetti de Almeida" userId="129d4ce6-e715-4d33-b4c4-312f1656225b" providerId="ADAL" clId="{B2D14E4C-771A-44E5-B59A-2A7036F0B9A7}" dt="2025-06-04T17:33:48.353" v="943" actId="403"/>
          <ac:spMkLst>
            <pc:docMk/>
            <pc:sldMk cId="3670869292" sldId="2147470282"/>
            <ac:spMk id="2" creationId="{C043FC53-028C-0440-C2F4-3DF988BCBA94}"/>
          </ac:spMkLst>
        </pc:spChg>
        <pc:graphicFrameChg chg="add mod modGraphic">
          <ac:chgData name="Alexandre Zanetti de Almeida" userId="129d4ce6-e715-4d33-b4c4-312f1656225b" providerId="ADAL" clId="{B2D14E4C-771A-44E5-B59A-2A7036F0B9A7}" dt="2025-06-05T13:07:59.273" v="987" actId="14734"/>
          <ac:graphicFrameMkLst>
            <pc:docMk/>
            <pc:sldMk cId="3670869292" sldId="2147470282"/>
            <ac:graphicFrameMk id="5" creationId="{08483D9F-5DE7-9AA5-16E0-98BFF60B78C1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08:27.952" v="989"/>
          <ac:graphicFrameMkLst>
            <pc:docMk/>
            <pc:sldMk cId="3670869292" sldId="2147470282"/>
            <ac:graphicFrameMk id="7" creationId="{593B496F-4CE3-AA8F-3D28-8EF657B4BF33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10:20.182" v="1001" actId="1076"/>
          <ac:graphicFrameMkLst>
            <pc:docMk/>
            <pc:sldMk cId="3670869292" sldId="2147470282"/>
            <ac:graphicFrameMk id="9" creationId="{FF4C9011-82F8-1E0E-7A1A-7A7A4B973C72}"/>
          </ac:graphicFrameMkLst>
        </pc:graphicFrameChg>
      </pc:sldChg>
      <pc:sldChg chg="modSp del mod modShow">
        <pc:chgData name="Alexandre Zanetti de Almeida" userId="129d4ce6-e715-4d33-b4c4-312f1656225b" providerId="ADAL" clId="{B2D14E4C-771A-44E5-B59A-2A7036F0B9A7}" dt="2025-06-04T17:16:28.155" v="612" actId="47"/>
        <pc:sldMkLst>
          <pc:docMk/>
          <pc:sldMk cId="2817282654" sldId="2147470283"/>
        </pc:sldMkLst>
      </pc:sldChg>
      <pc:sldChg chg="modSp del mod modShow">
        <pc:chgData name="Alexandre Zanetti de Almeida" userId="129d4ce6-e715-4d33-b4c4-312f1656225b" providerId="ADAL" clId="{B2D14E4C-771A-44E5-B59A-2A7036F0B9A7}" dt="2025-06-04T17:16:33.714" v="617" actId="47"/>
        <pc:sldMkLst>
          <pc:docMk/>
          <pc:sldMk cId="57506138" sldId="2147470284"/>
        </pc:sldMkLst>
      </pc:sldChg>
      <pc:sldChg chg="del mod modShow">
        <pc:chgData name="Alexandre Zanetti de Almeida" userId="129d4ce6-e715-4d33-b4c4-312f1656225b" providerId="ADAL" clId="{B2D14E4C-771A-44E5-B59A-2A7036F0B9A7}" dt="2025-06-04T17:16:41.594" v="623" actId="47"/>
        <pc:sldMkLst>
          <pc:docMk/>
          <pc:sldMk cId="481838124" sldId="2147470285"/>
        </pc:sldMkLst>
      </pc:sldChg>
      <pc:sldChg chg="del mod modShow">
        <pc:chgData name="Alexandre Zanetti de Almeida" userId="129d4ce6-e715-4d33-b4c4-312f1656225b" providerId="ADAL" clId="{B2D14E4C-771A-44E5-B59A-2A7036F0B9A7}" dt="2025-06-04T17:16:47.894" v="628" actId="47"/>
        <pc:sldMkLst>
          <pc:docMk/>
          <pc:sldMk cId="1173113283" sldId="2147470286"/>
        </pc:sldMkLst>
      </pc:sldChg>
      <pc:sldChg chg="modSp del mod modShow">
        <pc:chgData name="Alexandre Zanetti de Almeida" userId="129d4ce6-e715-4d33-b4c4-312f1656225b" providerId="ADAL" clId="{B2D14E4C-771A-44E5-B59A-2A7036F0B9A7}" dt="2025-06-04T17:16:52.806" v="632" actId="47"/>
        <pc:sldMkLst>
          <pc:docMk/>
          <pc:sldMk cId="20244889" sldId="2147470287"/>
        </pc:sldMkLst>
      </pc:sldChg>
      <pc:sldChg chg="addSp delSp modSp del mod">
        <pc:chgData name="Alexandre Zanetti de Almeida" userId="129d4ce6-e715-4d33-b4c4-312f1656225b" providerId="ADAL" clId="{B2D14E4C-771A-44E5-B59A-2A7036F0B9A7}" dt="2025-06-05T13:10:50.379" v="1012" actId="47"/>
        <pc:sldMkLst>
          <pc:docMk/>
          <pc:sldMk cId="4066329794" sldId="2147470288"/>
        </pc:sldMkLst>
      </pc:sldChg>
      <pc:sldChg chg="addSp delSp modSp add del mod modShow">
        <pc:chgData name="Alexandre Zanetti de Almeida" userId="129d4ce6-e715-4d33-b4c4-312f1656225b" providerId="ADAL" clId="{B2D14E4C-771A-44E5-B59A-2A7036F0B9A7}" dt="2025-06-04T17:16:56.051" v="633" actId="47"/>
        <pc:sldMkLst>
          <pc:docMk/>
          <pc:sldMk cId="998295101" sldId="2147470289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094" v="634" actId="47"/>
        <pc:sldMkLst>
          <pc:docMk/>
          <pc:sldMk cId="117742514" sldId="2147470290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839" v="635" actId="47"/>
        <pc:sldMkLst>
          <pc:docMk/>
          <pc:sldMk cId="420519257" sldId="2147470291"/>
        </pc:sldMkLst>
      </pc:sldChg>
      <pc:sldChg chg="addSp modSp add mod">
        <pc:chgData name="Alexandre Zanetti de Almeida" userId="129d4ce6-e715-4d33-b4c4-312f1656225b" providerId="ADAL" clId="{B2D14E4C-771A-44E5-B59A-2A7036F0B9A7}" dt="2025-06-05T17:38:13.721" v="1093" actId="20577"/>
        <pc:sldMkLst>
          <pc:docMk/>
          <pc:sldMk cId="568721575" sldId="2147470292"/>
        </pc:sldMkLst>
      </pc:sldChg>
      <pc:sldChg chg="add del replId">
        <pc:chgData name="Alexandre Zanetti de Almeida" userId="129d4ce6-e715-4d33-b4c4-312f1656225b" providerId="ADAL" clId="{B2D14E4C-771A-44E5-B59A-2A7036F0B9A7}" dt="2025-05-23T12:52:31.449" v="67" actId="47"/>
        <pc:sldMkLst>
          <pc:docMk/>
          <pc:sldMk cId="3394882055" sldId="2147470292"/>
        </pc:sldMkLst>
      </pc:sldChg>
      <pc:sldChg chg="addSp modSp add mod">
        <pc:chgData name="Alexandre Zanetti de Almeida" userId="129d4ce6-e715-4d33-b4c4-312f1656225b" providerId="ADAL" clId="{B2D14E4C-771A-44E5-B59A-2A7036F0B9A7}" dt="2025-06-04T17:30:21.834" v="917" actId="207"/>
        <pc:sldMkLst>
          <pc:docMk/>
          <pc:sldMk cId="1097150443" sldId="2147470293"/>
        </pc:sldMkLst>
      </pc:sldChg>
      <pc:sldChg chg="add del">
        <pc:chgData name="Alexandre Zanetti de Almeida" userId="129d4ce6-e715-4d33-b4c4-312f1656225b" providerId="ADAL" clId="{B2D14E4C-771A-44E5-B59A-2A7036F0B9A7}" dt="2025-05-23T12:52:45.912" v="69" actId="47"/>
        <pc:sldMkLst>
          <pc:docMk/>
          <pc:sldMk cId="1903067440" sldId="2147470293"/>
        </pc:sldMkLst>
      </pc:sldChg>
      <pc:sldChg chg="addSp modSp add mod">
        <pc:chgData name="Alexandre Zanetti de Almeida" userId="129d4ce6-e715-4d33-b4c4-312f1656225b" providerId="ADAL" clId="{B2D14E4C-771A-44E5-B59A-2A7036F0B9A7}" dt="2025-06-04T17:30:19.594" v="916" actId="207"/>
        <pc:sldMkLst>
          <pc:docMk/>
          <pc:sldMk cId="3179614981" sldId="2147470294"/>
        </pc:sldMkLst>
      </pc:sldChg>
      <pc:sldChg chg="addSp delSp add del setBg delDesignElem">
        <pc:chgData name="Alexandre Zanetti de Almeida" userId="129d4ce6-e715-4d33-b4c4-312f1656225b" providerId="ADAL" clId="{B2D14E4C-771A-44E5-B59A-2A7036F0B9A7}" dt="2025-05-23T12:49:49.703" v="7"/>
        <pc:sldMkLst>
          <pc:docMk/>
          <pc:sldMk cId="3275488672" sldId="2147470294"/>
        </pc:sldMkLst>
      </pc:sldChg>
      <pc:sldChg chg="addSp modSp add mod">
        <pc:chgData name="Alexandre Zanetti de Almeida" userId="129d4ce6-e715-4d33-b4c4-312f1656225b" providerId="ADAL" clId="{B2D14E4C-771A-44E5-B59A-2A7036F0B9A7}" dt="2025-06-04T17:30:16.644" v="915" actId="207"/>
        <pc:sldMkLst>
          <pc:docMk/>
          <pc:sldMk cId="3633356812" sldId="2147470295"/>
        </pc:sldMkLst>
      </pc:sldChg>
      <pc:sldChg chg="addSp modSp add mod">
        <pc:chgData name="Alexandre Zanetti de Almeida" userId="129d4ce6-e715-4d33-b4c4-312f1656225b" providerId="ADAL" clId="{B2D14E4C-771A-44E5-B59A-2A7036F0B9A7}" dt="2025-06-05T17:47:44.532" v="1129" actId="113"/>
        <pc:sldMkLst>
          <pc:docMk/>
          <pc:sldMk cId="1816411801" sldId="2147470296"/>
        </pc:sldMkLst>
        <pc:spChg chg="add mod">
          <ac:chgData name="Alexandre Zanetti de Almeida" userId="129d4ce6-e715-4d33-b4c4-312f1656225b" providerId="ADAL" clId="{B2D14E4C-771A-44E5-B59A-2A7036F0B9A7}" dt="2025-06-05T17:47:44.532" v="1129" actId="113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B2D14E4C-771A-44E5-B59A-2A7036F0B9A7}" dt="2025-05-28T14:47:07.283" v="413" actId="108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B2D14E4C-771A-44E5-B59A-2A7036F0B9A7}" dt="2025-05-28T14:48:04.401" v="468" actId="6549"/>
          <ac:spMkLst>
            <pc:docMk/>
            <pc:sldMk cId="1816411801" sldId="2147470296"/>
            <ac:spMk id="114" creationId="{D3327D97-8B12-4F8C-64FE-2CD7C73157F0}"/>
          </ac:spMkLst>
        </pc:spChg>
      </pc:sldChg>
      <pc:sldChg chg="addSp modSp add mod">
        <pc:chgData name="Alexandre Zanetti de Almeida" userId="129d4ce6-e715-4d33-b4c4-312f1656225b" providerId="ADAL" clId="{B2D14E4C-771A-44E5-B59A-2A7036F0B9A7}" dt="2025-06-04T17:29:59.744" v="914" actId="207"/>
        <pc:sldMkLst>
          <pc:docMk/>
          <pc:sldMk cId="2579482346" sldId="2147470297"/>
        </pc:sldMkLst>
      </pc:sldChg>
      <pc:sldChg chg="addSp delSp modSp add del mod">
        <pc:chgData name="Alexandre Zanetti de Almeida" userId="129d4ce6-e715-4d33-b4c4-312f1656225b" providerId="ADAL" clId="{B2D14E4C-771A-44E5-B59A-2A7036F0B9A7}" dt="2025-06-04T17:16:36.149" v="618" actId="47"/>
        <pc:sldMkLst>
          <pc:docMk/>
          <pc:sldMk cId="1180019146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7:35:37.937" v="1066" actId="20577"/>
        <pc:sldMkLst>
          <pc:docMk/>
          <pc:sldMk cId="3541679384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3:10:33.085" v="1007" actId="1076"/>
        <pc:sldMkLst>
          <pc:docMk/>
          <pc:sldMk cId="1851950588" sldId="2147470299"/>
        </pc:sldMkLst>
        <pc:graphicFrameChg chg="add mod">
          <ac:chgData name="Alexandre Zanetti de Almeida" userId="129d4ce6-e715-4d33-b4c4-312f1656225b" providerId="ADAL" clId="{B2D14E4C-771A-44E5-B59A-2A7036F0B9A7}" dt="2025-06-05T13:10:33.085" v="1007" actId="1076"/>
          <ac:graphicFrameMkLst>
            <pc:docMk/>
            <pc:sldMk cId="1851950588" sldId="2147470299"/>
            <ac:graphicFrameMk id="8" creationId="{333330C1-C2B4-1A6E-0083-47EDE508C269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10:29.655" v="1006"/>
          <ac:graphicFrameMkLst>
            <pc:docMk/>
            <pc:sldMk cId="1851950588" sldId="2147470299"/>
            <ac:graphicFrameMk id="9" creationId="{5184429A-69CE-ECB0-7867-7710A7A39EDB}"/>
          </ac:graphicFrameMkLst>
        </pc:graphicFrameChg>
      </pc:sldChg>
      <pc:sldChg chg="addSp delSp modSp add mod">
        <pc:chgData name="Alexandre Zanetti de Almeida" userId="129d4ce6-e715-4d33-b4c4-312f1656225b" providerId="ADAL" clId="{B2D14E4C-771A-44E5-B59A-2A7036F0B9A7}" dt="2025-06-05T13:10:45.858" v="1011"/>
        <pc:sldMkLst>
          <pc:docMk/>
          <pc:sldMk cId="3302726499" sldId="2147470300"/>
        </pc:sldMkLst>
        <pc:graphicFrameChg chg="add mod">
          <ac:chgData name="Alexandre Zanetti de Almeida" userId="129d4ce6-e715-4d33-b4c4-312f1656225b" providerId="ADAL" clId="{B2D14E4C-771A-44E5-B59A-2A7036F0B9A7}" dt="2025-06-05T13:10:45.858" v="1011"/>
          <ac:graphicFrameMkLst>
            <pc:docMk/>
            <pc:sldMk cId="3302726499" sldId="2147470300"/>
            <ac:graphicFrameMk id="8" creationId="{E41A2B47-B64D-E874-D712-340B60C70B40}"/>
          </ac:graphicFrameMkLst>
        </pc:graphicFrameChg>
      </pc:sldChg>
    </pc:docChg>
  </pc:docChgLst>
  <pc:docChgLst>
    <pc:chgData name="Alexandre Zanetti de Almeida" userId="129d4ce6-e715-4d33-b4c4-312f1656225b" providerId="ADAL" clId="{7AD9C9E4-D1AE-45AC-A839-3E72D235218A}"/>
    <pc:docChg chg="undo redo custSel addSld delSld modSld sldOrd modSection">
      <pc:chgData name="Alexandre Zanetti de Almeida" userId="129d4ce6-e715-4d33-b4c4-312f1656225b" providerId="ADAL" clId="{7AD9C9E4-D1AE-45AC-A839-3E72D235218A}" dt="2025-08-12T12:14:34.185" v="2724" actId="108"/>
      <pc:docMkLst>
        <pc:docMk/>
      </pc:docMkLst>
      <pc:sldChg chg="addSp delSp modSp mod">
        <pc:chgData name="Alexandre Zanetti de Almeida" userId="129d4ce6-e715-4d33-b4c4-312f1656225b" providerId="ADAL" clId="{7AD9C9E4-D1AE-45AC-A839-3E72D235218A}" dt="2025-07-17T17:03:42.992" v="2192" actId="6549"/>
        <pc:sldMkLst>
          <pc:docMk/>
          <pc:sldMk cId="3565198220" sldId="257"/>
        </pc:sldMkLst>
        <pc:spChg chg="add del mod">
          <ac:chgData name="Alexandre Zanetti de Almeida" userId="129d4ce6-e715-4d33-b4c4-312f1656225b" providerId="ADAL" clId="{7AD9C9E4-D1AE-45AC-A839-3E72D235218A}" dt="2025-07-17T17:03:42.992" v="2192" actId="6549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7AD9C9E4-D1AE-45AC-A839-3E72D235218A}" dt="2025-06-17T17:08:37.318" v="25"/>
        <pc:sldMkLst>
          <pc:docMk/>
          <pc:sldMk cId="2840932422" sldId="2147470184"/>
        </pc:sldMkLst>
        <pc:spChg chg="mod">
          <ac:chgData name="Alexandre Zanetti de Almeida" userId="129d4ce6-e715-4d33-b4c4-312f1656225b" providerId="ADAL" clId="{7AD9C9E4-D1AE-45AC-A839-3E72D235218A}" dt="2025-06-17T17:08:37.318" v="25"/>
          <ac:spMkLst>
            <pc:docMk/>
            <pc:sldMk cId="2840932422" sldId="2147470184"/>
            <ac:spMk id="10" creationId="{E09BA1D0-45F1-1660-384B-4B1043BFC997}"/>
          </ac:spMkLst>
        </pc:spChg>
      </pc:sldChg>
      <pc:sldChg chg="addSp delSp modSp mod">
        <pc:chgData name="Alexandre Zanetti de Almeida" userId="129d4ce6-e715-4d33-b4c4-312f1656225b" providerId="ADAL" clId="{7AD9C9E4-D1AE-45AC-A839-3E72D235218A}" dt="2025-06-27T14:43:25.670" v="1847" actId="478"/>
        <pc:sldMkLst>
          <pc:docMk/>
          <pc:sldMk cId="2698931172" sldId="2147470252"/>
        </pc:sldMkLst>
      </pc:sldChg>
      <pc:sldChg chg="modSp del mod">
        <pc:chgData name="Alexandre Zanetti de Almeida" userId="129d4ce6-e715-4d33-b4c4-312f1656225b" providerId="ADAL" clId="{7AD9C9E4-D1AE-45AC-A839-3E72D235218A}" dt="2025-06-25T16:45:53.321" v="749" actId="47"/>
        <pc:sldMkLst>
          <pc:docMk/>
          <pc:sldMk cId="568721575" sldId="2147470292"/>
        </pc:sldMkLst>
      </pc:sldChg>
      <pc:sldChg chg="del">
        <pc:chgData name="Alexandre Zanetti de Almeida" userId="129d4ce6-e715-4d33-b4c4-312f1656225b" providerId="ADAL" clId="{7AD9C9E4-D1AE-45AC-A839-3E72D235218A}" dt="2025-06-26T09:35:55.911" v="1207" actId="47"/>
        <pc:sldMkLst>
          <pc:docMk/>
          <pc:sldMk cId="1097150443" sldId="2147470293"/>
        </pc:sldMkLst>
      </pc:sldChg>
      <pc:sldChg chg="del">
        <pc:chgData name="Alexandre Zanetti de Almeida" userId="129d4ce6-e715-4d33-b4c4-312f1656225b" providerId="ADAL" clId="{7AD9C9E4-D1AE-45AC-A839-3E72D235218A}" dt="2025-06-26T09:43:13.754" v="1322" actId="47"/>
        <pc:sldMkLst>
          <pc:docMk/>
          <pc:sldMk cId="3179614981" sldId="2147470294"/>
        </pc:sldMkLst>
      </pc:sldChg>
      <pc:sldChg chg="modSp del mod">
        <pc:chgData name="Alexandre Zanetti de Almeida" userId="129d4ce6-e715-4d33-b4c4-312f1656225b" providerId="ADAL" clId="{7AD9C9E4-D1AE-45AC-A839-3E72D235218A}" dt="2025-06-26T14:33:14.652" v="1515" actId="47"/>
        <pc:sldMkLst>
          <pc:docMk/>
          <pc:sldMk cId="3633356812" sldId="2147470295"/>
        </pc:sldMkLst>
      </pc:sldChg>
      <pc:sldChg chg="addSp delSp modSp mod modShow">
        <pc:chgData name="Alexandre Zanetti de Almeida" userId="129d4ce6-e715-4d33-b4c4-312f1656225b" providerId="ADAL" clId="{7AD9C9E4-D1AE-45AC-A839-3E72D235218A}" dt="2025-08-12T11:59:53.376" v="2632" actId="20577"/>
        <pc:sldMkLst>
          <pc:docMk/>
          <pc:sldMk cId="1816411801" sldId="2147470296"/>
        </pc:sldMkLst>
        <pc:spChg chg="mod ord">
          <ac:chgData name="Alexandre Zanetti de Almeida" userId="129d4ce6-e715-4d33-b4c4-312f1656225b" providerId="ADAL" clId="{7AD9C9E4-D1AE-45AC-A839-3E72D235218A}" dt="2025-06-26T14:47:28.290" v="1830" actId="14100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5" creationId="{60862B6B-742C-9D18-C8D8-2CF81341E26A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8" creationId="{906AA797-F274-FAC6-22AA-681AD4F6AA09}"/>
          </ac:spMkLst>
        </pc:spChg>
        <pc:spChg chg="mod">
          <ac:chgData name="Alexandre Zanetti de Almeida" userId="129d4ce6-e715-4d33-b4c4-312f1656225b" providerId="ADAL" clId="{7AD9C9E4-D1AE-45AC-A839-3E72D235218A}" dt="2025-07-15T11:47:55.816" v="2123" actId="20577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1" creationId="{1896361C-C227-9D49-CB6E-4C8B815038F8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2" creationId="{3EDBE686-8D56-3943-206D-01BBC10C8610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3" creationId="{9782924C-A33C-BDA6-2DDF-EF3C863461FE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0" creationId="{3AFCF568-767C-1C83-E17A-57F0975D96AF}"/>
          </ac:spMkLst>
        </pc:spChg>
        <pc:spChg chg="mod">
          <ac:chgData name="Alexandre Zanetti de Almeida" userId="129d4ce6-e715-4d33-b4c4-312f1656225b" providerId="ADAL" clId="{7AD9C9E4-D1AE-45AC-A839-3E72D235218A}" dt="2025-08-12T11:59:53.376" v="2632" actId="20577"/>
          <ac:spMkLst>
            <pc:docMk/>
            <pc:sldMk cId="1816411801" sldId="2147470296"/>
            <ac:spMk id="81" creationId="{86E13D55-E39D-02AF-9E02-FCC9B97F567B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2" creationId="{A5076F38-F3A3-0028-8F87-B234461B94BD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110" creationId="{0045095D-7CB7-3FE9-D86E-7DA7AEE6B1F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1" creationId="{8B2895D9-FCB9-90EA-5839-10C229C60C2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2" creationId="{95B20AF7-0BF9-497F-BAF2-0F7C6567CD9F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3" creationId="{7901A60E-9A3C-5FAF-24F0-3F5E9B371839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4" creationId="{D3327D97-8B12-4F8C-64FE-2CD7C73157F0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5" creationId="{2D8BE515-4EF6-36A7-340F-36AAA32D3985}"/>
          </ac:spMkLst>
        </pc:spChg>
        <pc:grpChg chg="mod">
          <ac:chgData name="Alexandre Zanetti de Almeida" userId="129d4ce6-e715-4d33-b4c4-312f1656225b" providerId="ADAL" clId="{7AD9C9E4-D1AE-45AC-A839-3E72D235218A}" dt="2025-06-25T10:57:13.349" v="523" actId="14100"/>
          <ac:grpSpMkLst>
            <pc:docMk/>
            <pc:sldMk cId="1816411801" sldId="2147470296"/>
            <ac:grpSpMk id="12" creationId="{2212E6A6-5BF5-3A3F-6BE6-662D77AE4CCC}"/>
          </ac:grpSpMkLst>
        </pc:grpChg>
        <pc:picChg chg="mod">
          <ac:chgData name="Alexandre Zanetti de Almeida" userId="129d4ce6-e715-4d33-b4c4-312f1656225b" providerId="ADAL" clId="{7AD9C9E4-D1AE-45AC-A839-3E72D235218A}" dt="2025-06-26T14:47:15.373" v="1827" actId="1038"/>
          <ac:picMkLst>
            <pc:docMk/>
            <pc:sldMk cId="1816411801" sldId="2147470296"/>
            <ac:picMk id="7" creationId="{E2F853CE-CBFB-43B3-1AEF-6292CD197CAA}"/>
          </ac:picMkLst>
        </pc:pic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9" creationId="{2C6212CD-3750-B6FC-F122-7422D55B2828}"/>
          </ac:cxnSpMkLst>
        </pc:cxn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117" creationId="{28B1923D-4A8E-248E-6FDC-641477E02B6C}"/>
          </ac:cxnSpMkLst>
        </pc:cxnChg>
      </pc:sldChg>
      <pc:sldChg chg="add del">
        <pc:chgData name="Alexandre Zanetti de Almeida" userId="129d4ce6-e715-4d33-b4c4-312f1656225b" providerId="ADAL" clId="{7AD9C9E4-D1AE-45AC-A839-3E72D235218A}" dt="2025-06-26T14:45:13.789" v="1696" actId="47"/>
        <pc:sldMkLst>
          <pc:docMk/>
          <pc:sldMk cId="2579482346" sldId="2147470297"/>
        </pc:sldMkLst>
      </pc:sldChg>
      <pc:sldChg chg="del">
        <pc:chgData name="Alexandre Zanetti de Almeida" userId="129d4ce6-e715-4d33-b4c4-312f1656225b" providerId="ADAL" clId="{7AD9C9E4-D1AE-45AC-A839-3E72D235218A}" dt="2025-06-25T16:47:54.106" v="799" actId="47"/>
        <pc:sldMkLst>
          <pc:docMk/>
          <pc:sldMk cId="3541679384" sldId="2147470298"/>
        </pc:sldMkLst>
      </pc:sldChg>
      <pc:sldChg chg="modSp mod">
        <pc:chgData name="Alexandre Zanetti de Almeida" userId="129d4ce6-e715-4d33-b4c4-312f1656225b" providerId="ADAL" clId="{7AD9C9E4-D1AE-45AC-A839-3E72D235218A}" dt="2025-07-15T12:03:20.263" v="2177"/>
        <pc:sldMkLst>
          <pc:docMk/>
          <pc:sldMk cId="1851950588" sldId="2147470299"/>
        </pc:sldMkLst>
        <pc:graphicFrameChg chg="mod modGraphic">
          <ac:chgData name="Alexandre Zanetti de Almeida" userId="129d4ce6-e715-4d33-b4c4-312f1656225b" providerId="ADAL" clId="{7AD9C9E4-D1AE-45AC-A839-3E72D235218A}" dt="2025-07-15T12:03:20.263" v="2177"/>
          <ac:graphicFrameMkLst>
            <pc:docMk/>
            <pc:sldMk cId="1851950588" sldId="2147470299"/>
            <ac:graphicFrameMk id="8" creationId="{333330C1-C2B4-1A6E-0083-47EDE508C269}"/>
          </ac:graphicFrameMkLst>
        </pc:graphicFrameChg>
      </pc:sldChg>
      <pc:sldChg chg="addSp delSp modSp add mod modShow">
        <pc:chgData name="Alexandre Zanetti de Almeida" userId="129d4ce6-e715-4d33-b4c4-312f1656225b" providerId="ADAL" clId="{7AD9C9E4-D1AE-45AC-A839-3E72D235218A}" dt="2025-07-04T13:23:42.786" v="2080" actId="255"/>
        <pc:sldMkLst>
          <pc:docMk/>
          <pc:sldMk cId="1442251791" sldId="2147470301"/>
        </pc:sldMkLst>
        <pc:spChg chg="mod">
          <ac:chgData name="Alexandre Zanetti de Almeida" userId="129d4ce6-e715-4d33-b4c4-312f1656225b" providerId="ADAL" clId="{7AD9C9E4-D1AE-45AC-A839-3E72D235218A}" dt="2025-06-26T14:47:34.041" v="1832" actId="14100"/>
          <ac:spMkLst>
            <pc:docMk/>
            <pc:sldMk cId="1442251791" sldId="2147470301"/>
            <ac:spMk id="2" creationId="{DFA11D21-E0C8-445E-C4C7-2DEE33DA6521}"/>
          </ac:spMkLst>
        </pc:spChg>
        <pc:spChg chg="mod">
          <ac:chgData name="Alexandre Zanetti de Almeida" userId="129d4ce6-e715-4d33-b4c4-312f1656225b" providerId="ADAL" clId="{7AD9C9E4-D1AE-45AC-A839-3E72D235218A}" dt="2025-07-04T13:23:42.786" v="2080" actId="255"/>
          <ac:spMkLst>
            <pc:docMk/>
            <pc:sldMk cId="1442251791" sldId="2147470301"/>
            <ac:spMk id="68" creationId="{40CEAB8B-AF15-7719-4FBB-54194ABD0BD7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0" creationId="{56CE2DBF-749D-B1AC-DE31-6ABFA3F9A6F2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1" creationId="{E217E475-E4C4-E1CB-C11F-D118456F53AF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2" creationId="{BD8A310B-262F-A71F-5642-2E3D1737AD66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3" creationId="{A659C8AA-58AF-5885-6DD5-3F8DAD1373E0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4" creationId="{943D12D0-E647-5A30-46F3-E578F2028CC1}"/>
          </ac:spMkLst>
        </pc:spChg>
        <pc:spChg chg="mod">
          <ac:chgData name="Alexandre Zanetti de Almeida" userId="129d4ce6-e715-4d33-b4c4-312f1656225b" providerId="ADAL" clId="{7AD9C9E4-D1AE-45AC-A839-3E72D235218A}" dt="2025-06-25T16:43:45.618" v="706" actId="6549"/>
          <ac:spMkLst>
            <pc:docMk/>
            <pc:sldMk cId="1442251791" sldId="2147470301"/>
            <ac:spMk id="115" creationId="{01A9912B-4DEA-63F8-1D10-1F8CA0F95CE5}"/>
          </ac:spMkLst>
        </pc:spChg>
        <pc:picChg chg="add mod">
          <ac:chgData name="Alexandre Zanetti de Almeida" userId="129d4ce6-e715-4d33-b4c4-312f1656225b" providerId="ADAL" clId="{7AD9C9E4-D1AE-45AC-A839-3E72D235218A}" dt="2025-06-26T14:47:06.314" v="1806" actId="1037"/>
          <ac:picMkLst>
            <pc:docMk/>
            <pc:sldMk cId="1442251791" sldId="2147470301"/>
            <ac:picMk id="14" creationId="{B2C2B882-8B72-7DD0-DA7F-0C1B5291DE44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3:50.746" v="2082" actId="255"/>
        <pc:sldMkLst>
          <pc:docMk/>
          <pc:sldMk cId="369091421" sldId="2147470302"/>
        </pc:sldMkLst>
        <pc:spChg chg="mod">
          <ac:chgData name="Alexandre Zanetti de Almeida" userId="129d4ce6-e715-4d33-b4c4-312f1656225b" providerId="ADAL" clId="{7AD9C9E4-D1AE-45AC-A839-3E72D235218A}" dt="2025-06-26T14:47:40.504" v="1834" actId="14100"/>
          <ac:spMkLst>
            <pc:docMk/>
            <pc:sldMk cId="369091421" sldId="2147470302"/>
            <ac:spMk id="2" creationId="{33804D4A-0F11-C830-BBFE-DDFCCB8E5997}"/>
          </ac:spMkLst>
        </pc:spChg>
        <pc:spChg chg="mod">
          <ac:chgData name="Alexandre Zanetti de Almeida" userId="129d4ce6-e715-4d33-b4c4-312f1656225b" providerId="ADAL" clId="{7AD9C9E4-D1AE-45AC-A839-3E72D235218A}" dt="2025-07-04T13:23:50.746" v="2082" actId="255"/>
          <ac:spMkLst>
            <pc:docMk/>
            <pc:sldMk cId="369091421" sldId="2147470302"/>
            <ac:spMk id="68" creationId="{74D8C5C4-2476-EAE0-83DD-61CEB1955282}"/>
          </ac:spMkLst>
        </pc:spChg>
        <pc:spChg chg="mod">
          <ac:chgData name="Alexandre Zanetti de Almeida" userId="129d4ce6-e715-4d33-b4c4-312f1656225b" providerId="ADAL" clId="{7AD9C9E4-D1AE-45AC-A839-3E72D235218A}" dt="2025-06-25T16:47:28.176" v="793" actId="6549"/>
          <ac:spMkLst>
            <pc:docMk/>
            <pc:sldMk cId="369091421" sldId="2147470302"/>
            <ac:spMk id="81" creationId="{6402C097-A217-8980-EE5E-EEE2968D1AC9}"/>
          </ac:spMkLst>
        </pc:spChg>
        <pc:spChg chg="mod">
          <ac:chgData name="Alexandre Zanetti de Almeida" userId="129d4ce6-e715-4d33-b4c4-312f1656225b" providerId="ADAL" clId="{7AD9C9E4-D1AE-45AC-A839-3E72D235218A}" dt="2025-06-25T16:46:52.670" v="760"/>
          <ac:spMkLst>
            <pc:docMk/>
            <pc:sldMk cId="369091421" sldId="2147470302"/>
            <ac:spMk id="82" creationId="{5B2298DE-BAFF-51D2-BDD3-DDF7C25E47FA}"/>
          </ac:spMkLst>
        </pc:spChg>
        <pc:spChg chg="mod">
          <ac:chgData name="Alexandre Zanetti de Almeida" userId="129d4ce6-e715-4d33-b4c4-312f1656225b" providerId="ADAL" clId="{7AD9C9E4-D1AE-45AC-A839-3E72D235218A}" dt="2025-06-25T16:47:33.025" v="794"/>
          <ac:spMkLst>
            <pc:docMk/>
            <pc:sldMk cId="369091421" sldId="2147470302"/>
            <ac:spMk id="113" creationId="{310C7A11-7A90-33EE-16E2-0F16F7D37693}"/>
          </ac:spMkLst>
        </pc:spChg>
        <pc:spChg chg="mod">
          <ac:chgData name="Alexandre Zanetti de Almeida" userId="129d4ce6-e715-4d33-b4c4-312f1656225b" providerId="ADAL" clId="{7AD9C9E4-D1AE-45AC-A839-3E72D235218A}" dt="2025-06-25T16:47:09.294" v="764" actId="6549"/>
          <ac:spMkLst>
            <pc:docMk/>
            <pc:sldMk cId="369091421" sldId="2147470302"/>
            <ac:spMk id="114" creationId="{BDE3A444-A764-4F6F-786E-830BD50CAAE6}"/>
          </ac:spMkLst>
        </pc:spChg>
        <pc:spChg chg="mod">
          <ac:chgData name="Alexandre Zanetti de Almeida" userId="129d4ce6-e715-4d33-b4c4-312f1656225b" providerId="ADAL" clId="{7AD9C9E4-D1AE-45AC-A839-3E72D235218A}" dt="2025-06-25T16:47:19.071" v="777" actId="20577"/>
          <ac:spMkLst>
            <pc:docMk/>
            <pc:sldMk cId="369091421" sldId="2147470302"/>
            <ac:spMk id="115" creationId="{E5E27E1D-CD79-0F01-8426-8755570AC0EF}"/>
          </ac:spMkLst>
        </pc:spChg>
        <pc:picChg chg="add mod">
          <ac:chgData name="Alexandre Zanetti de Almeida" userId="129d4ce6-e715-4d33-b4c4-312f1656225b" providerId="ADAL" clId="{7AD9C9E4-D1AE-45AC-A839-3E72D235218A}" dt="2025-06-26T14:46:56.454" v="1781" actId="1037"/>
          <ac:picMkLst>
            <pc:docMk/>
            <pc:sldMk cId="369091421" sldId="2147470302"/>
            <ac:picMk id="14" creationId="{64CDD554-CC7F-7C57-A6DB-56DFFA1157B1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04.404" v="2084" actId="255"/>
        <pc:sldMkLst>
          <pc:docMk/>
          <pc:sldMk cId="3080388153" sldId="2147470303"/>
        </pc:sldMkLst>
        <pc:spChg chg="mod">
          <ac:chgData name="Alexandre Zanetti de Almeida" userId="129d4ce6-e715-4d33-b4c4-312f1656225b" providerId="ADAL" clId="{7AD9C9E4-D1AE-45AC-A839-3E72D235218A}" dt="2025-06-26T14:47:46.794" v="1836" actId="14100"/>
          <ac:spMkLst>
            <pc:docMk/>
            <pc:sldMk cId="3080388153" sldId="2147470303"/>
            <ac:spMk id="2" creationId="{64E4017E-2FB5-2725-D55B-A9C8F8244E96}"/>
          </ac:spMkLst>
        </pc:spChg>
        <pc:spChg chg="mod">
          <ac:chgData name="Alexandre Zanetti de Almeida" userId="129d4ce6-e715-4d33-b4c4-312f1656225b" providerId="ADAL" clId="{7AD9C9E4-D1AE-45AC-A839-3E72D235218A}" dt="2025-07-04T13:24:04.404" v="2084" actId="255"/>
          <ac:spMkLst>
            <pc:docMk/>
            <pc:sldMk cId="3080388153" sldId="2147470303"/>
            <ac:spMk id="68" creationId="{905EDB74-1E17-9AB7-61DB-7DE3D18D1B03}"/>
          </ac:spMkLst>
        </pc:spChg>
        <pc:spChg chg="mod">
          <ac:chgData name="Alexandre Zanetti de Almeida" userId="129d4ce6-e715-4d33-b4c4-312f1656225b" providerId="ADAL" clId="{7AD9C9E4-D1AE-45AC-A839-3E72D235218A}" dt="2025-06-26T09:22:37.406" v="1016" actId="6549"/>
          <ac:spMkLst>
            <pc:docMk/>
            <pc:sldMk cId="3080388153" sldId="2147470303"/>
            <ac:spMk id="81" creationId="{7229D543-311F-C4D7-24BB-207C1F47A30A}"/>
          </ac:spMkLst>
        </pc:spChg>
        <pc:spChg chg="mod">
          <ac:chgData name="Alexandre Zanetti de Almeida" userId="129d4ce6-e715-4d33-b4c4-312f1656225b" providerId="ADAL" clId="{7AD9C9E4-D1AE-45AC-A839-3E72D235218A}" dt="2025-06-26T09:22:52.726" v="1019" actId="20577"/>
          <ac:spMkLst>
            <pc:docMk/>
            <pc:sldMk cId="3080388153" sldId="2147470303"/>
            <ac:spMk id="82" creationId="{008B2C78-A0D7-766A-E96D-8050B99AF58E}"/>
          </ac:spMkLst>
        </pc:spChg>
        <pc:spChg chg="mod">
          <ac:chgData name="Alexandre Zanetti de Almeida" userId="129d4ce6-e715-4d33-b4c4-312f1656225b" providerId="ADAL" clId="{7AD9C9E4-D1AE-45AC-A839-3E72D235218A}" dt="2025-06-26T09:33:06.438" v="1137" actId="6549"/>
          <ac:spMkLst>
            <pc:docMk/>
            <pc:sldMk cId="3080388153" sldId="2147470303"/>
            <ac:spMk id="113" creationId="{785A1DF2-B748-8DFB-A47B-F2735F7B2E06}"/>
          </ac:spMkLst>
        </pc:spChg>
        <pc:spChg chg="add del mod">
          <ac:chgData name="Alexandre Zanetti de Almeida" userId="129d4ce6-e715-4d33-b4c4-312f1656225b" providerId="ADAL" clId="{7AD9C9E4-D1AE-45AC-A839-3E72D235218A}" dt="2025-06-26T09:33:15.642" v="1139"/>
          <ac:spMkLst>
            <pc:docMk/>
            <pc:sldMk cId="3080388153" sldId="2147470303"/>
            <ac:spMk id="114" creationId="{D44D5055-8298-C85F-9B17-C8D84FE80105}"/>
          </ac:spMkLst>
        </pc:spChg>
        <pc:spChg chg="mod">
          <ac:chgData name="Alexandre Zanetti de Almeida" userId="129d4ce6-e715-4d33-b4c4-312f1656225b" providerId="ADAL" clId="{7AD9C9E4-D1AE-45AC-A839-3E72D235218A}" dt="2025-07-04T13:19:37.113" v="1967" actId="108"/>
          <ac:spMkLst>
            <pc:docMk/>
            <pc:sldMk cId="3080388153" sldId="2147470303"/>
            <ac:spMk id="115" creationId="{A4D31653-F4FB-5718-5D6A-AAA87FBFB702}"/>
          </ac:spMkLst>
        </pc:spChg>
        <pc:picChg chg="add mod">
          <ac:chgData name="Alexandre Zanetti de Almeida" userId="129d4ce6-e715-4d33-b4c4-312f1656225b" providerId="ADAL" clId="{7AD9C9E4-D1AE-45AC-A839-3E72D235218A}" dt="2025-06-26T14:46:46.059" v="1752" actId="1037"/>
          <ac:picMkLst>
            <pc:docMk/>
            <pc:sldMk cId="3080388153" sldId="2147470303"/>
            <ac:picMk id="17" creationId="{D129A4EE-8EA1-2174-7897-E5D7468F1695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13.817" v="2086" actId="255"/>
        <pc:sldMkLst>
          <pc:docMk/>
          <pc:sldMk cId="1759209980" sldId="2147470304"/>
        </pc:sldMkLst>
        <pc:spChg chg="mod">
          <ac:chgData name="Alexandre Zanetti de Almeida" userId="129d4ce6-e715-4d33-b4c4-312f1656225b" providerId="ADAL" clId="{7AD9C9E4-D1AE-45AC-A839-3E72D235218A}" dt="2025-06-26T14:47:52.654" v="1838" actId="14100"/>
          <ac:spMkLst>
            <pc:docMk/>
            <pc:sldMk cId="1759209980" sldId="2147470304"/>
            <ac:spMk id="2" creationId="{926A3D98-2777-26D4-8051-C5520A52387D}"/>
          </ac:spMkLst>
        </pc:spChg>
        <pc:spChg chg="mod">
          <ac:chgData name="Alexandre Zanetti de Almeida" userId="129d4ce6-e715-4d33-b4c4-312f1656225b" providerId="ADAL" clId="{7AD9C9E4-D1AE-45AC-A839-3E72D235218A}" dt="2025-07-04T13:24:13.817" v="2086" actId="255"/>
          <ac:spMkLst>
            <pc:docMk/>
            <pc:sldMk cId="1759209980" sldId="2147470304"/>
            <ac:spMk id="68" creationId="{364E4895-6EC3-B658-BE73-CEDC3F0FCA20}"/>
          </ac:spMkLst>
        </pc:spChg>
        <pc:spChg chg="mod">
          <ac:chgData name="Alexandre Zanetti de Almeida" userId="129d4ce6-e715-4d33-b4c4-312f1656225b" providerId="ADAL" clId="{7AD9C9E4-D1AE-45AC-A839-3E72D235218A}" dt="2025-06-26T09:36:45.406" v="1221"/>
          <ac:spMkLst>
            <pc:docMk/>
            <pc:sldMk cId="1759209980" sldId="2147470304"/>
            <ac:spMk id="80" creationId="{E34124AF-FBD4-9951-9A8F-0872FD4B94DF}"/>
          </ac:spMkLst>
        </pc:spChg>
        <pc:spChg chg="mod">
          <ac:chgData name="Alexandre Zanetti de Almeida" userId="129d4ce6-e715-4d33-b4c4-312f1656225b" providerId="ADAL" clId="{7AD9C9E4-D1AE-45AC-A839-3E72D235218A}" dt="2025-06-26T09:36:51.656" v="1222"/>
          <ac:spMkLst>
            <pc:docMk/>
            <pc:sldMk cId="1759209980" sldId="2147470304"/>
            <ac:spMk id="81" creationId="{9D61ED8F-87BA-8133-AB13-EF9B53087708}"/>
          </ac:spMkLst>
        </pc:spChg>
        <pc:spChg chg="mod">
          <ac:chgData name="Alexandre Zanetti de Almeida" userId="129d4ce6-e715-4d33-b4c4-312f1656225b" providerId="ADAL" clId="{7AD9C9E4-D1AE-45AC-A839-3E72D235218A}" dt="2025-06-26T09:40:06.695" v="1267" actId="108"/>
          <ac:spMkLst>
            <pc:docMk/>
            <pc:sldMk cId="1759209980" sldId="2147470304"/>
            <ac:spMk id="82" creationId="{0260CB04-7B34-3B67-C703-D07B81742FB8}"/>
          </ac:spMkLst>
        </pc:spChg>
        <pc:spChg chg="mod">
          <ac:chgData name="Alexandre Zanetti de Almeida" userId="129d4ce6-e715-4d33-b4c4-312f1656225b" providerId="ADAL" clId="{7AD9C9E4-D1AE-45AC-A839-3E72D235218A}" dt="2025-06-26T09:41:37.454" v="1294" actId="6549"/>
          <ac:spMkLst>
            <pc:docMk/>
            <pc:sldMk cId="1759209980" sldId="2147470304"/>
            <ac:spMk id="113" creationId="{369CFBBF-293C-BE50-0DFD-05E69491B1FD}"/>
          </ac:spMkLst>
        </pc:spChg>
        <pc:spChg chg="mod">
          <ac:chgData name="Alexandre Zanetti de Almeida" userId="129d4ce6-e715-4d33-b4c4-312f1656225b" providerId="ADAL" clId="{7AD9C9E4-D1AE-45AC-A839-3E72D235218A}" dt="2025-06-26T09:41:52.009" v="1296" actId="6549"/>
          <ac:spMkLst>
            <pc:docMk/>
            <pc:sldMk cId="1759209980" sldId="2147470304"/>
            <ac:spMk id="114" creationId="{AC9A9EB1-C2BA-6E90-2B14-082B24B7B3B2}"/>
          </ac:spMkLst>
        </pc:spChg>
        <pc:spChg chg="mod">
          <ac:chgData name="Alexandre Zanetti de Almeida" userId="129d4ce6-e715-4d33-b4c4-312f1656225b" providerId="ADAL" clId="{7AD9C9E4-D1AE-45AC-A839-3E72D235218A}" dt="2025-06-26T09:41:54.808" v="1297" actId="6549"/>
          <ac:spMkLst>
            <pc:docMk/>
            <pc:sldMk cId="1759209980" sldId="2147470304"/>
            <ac:spMk id="115" creationId="{DF807E0E-3292-7D4E-C9CA-247931895140}"/>
          </ac:spMkLst>
        </pc:spChg>
        <pc:picChg chg="add mod">
          <ac:chgData name="Alexandre Zanetti de Almeida" userId="129d4ce6-e715-4d33-b4c4-312f1656225b" providerId="ADAL" clId="{7AD9C9E4-D1AE-45AC-A839-3E72D235218A}" dt="2025-06-26T14:46:37.499" v="1745" actId="1038"/>
          <ac:picMkLst>
            <pc:docMk/>
            <pc:sldMk cId="1759209980" sldId="2147470304"/>
            <ac:picMk id="7" creationId="{4D32BB70-E526-C2D8-F717-A71C7BFDD2D3}"/>
          </ac:picMkLst>
        </pc:picChg>
      </pc:sldChg>
      <pc:sldChg chg="addSp delSp modSp add mod ord modShow">
        <pc:chgData name="Alexandre Zanetti de Almeida" userId="129d4ce6-e715-4d33-b4c4-312f1656225b" providerId="ADAL" clId="{7AD9C9E4-D1AE-45AC-A839-3E72D235218A}" dt="2025-07-15T12:09:17.637" v="2183"/>
        <pc:sldMkLst>
          <pc:docMk/>
          <pc:sldMk cId="1459291813" sldId="2147470305"/>
        </pc:sldMkLst>
        <pc:spChg chg="mod">
          <ac:chgData name="Alexandre Zanetti de Almeida" userId="129d4ce6-e715-4d33-b4c4-312f1656225b" providerId="ADAL" clId="{7AD9C9E4-D1AE-45AC-A839-3E72D235218A}" dt="2025-06-26T14:47:58.759" v="1840" actId="14100"/>
          <ac:spMkLst>
            <pc:docMk/>
            <pc:sldMk cId="1459291813" sldId="2147470305"/>
            <ac:spMk id="2" creationId="{5462985D-E8A5-272E-A7D2-DB062DFED794}"/>
          </ac:spMkLst>
        </pc:spChg>
        <pc:spChg chg="mod">
          <ac:chgData name="Alexandre Zanetti de Almeida" userId="129d4ce6-e715-4d33-b4c4-312f1656225b" providerId="ADAL" clId="{7AD9C9E4-D1AE-45AC-A839-3E72D235218A}" dt="2025-06-26T14:46:02.963" v="1728" actId="1036"/>
          <ac:spMkLst>
            <pc:docMk/>
            <pc:sldMk cId="1459291813" sldId="2147470305"/>
            <ac:spMk id="15" creationId="{67E58EA3-D56A-F7A6-C628-9E0EDA74644B}"/>
          </ac:spMkLst>
        </pc:spChg>
        <pc:spChg chg="mod">
          <ac:chgData name="Alexandre Zanetti de Almeida" userId="129d4ce6-e715-4d33-b4c4-312f1656225b" providerId="ADAL" clId="{7AD9C9E4-D1AE-45AC-A839-3E72D235218A}" dt="2025-07-04T13:24:26.880" v="2088" actId="255"/>
          <ac:spMkLst>
            <pc:docMk/>
            <pc:sldMk cId="1459291813" sldId="2147470305"/>
            <ac:spMk id="68" creationId="{FDC88DAF-9EA1-4D27-9DE8-01AC0E713E71}"/>
          </ac:spMkLst>
        </pc:spChg>
        <pc:spChg chg="mod">
          <ac:chgData name="Alexandre Zanetti de Almeida" userId="129d4ce6-e715-4d33-b4c4-312f1656225b" providerId="ADAL" clId="{7AD9C9E4-D1AE-45AC-A839-3E72D235218A}" dt="2025-06-26T09:44:30.243" v="1379" actId="108"/>
          <ac:spMkLst>
            <pc:docMk/>
            <pc:sldMk cId="1459291813" sldId="2147470305"/>
            <ac:spMk id="82" creationId="{8F575C0E-CED2-7A2A-7B88-04E95FAE909F}"/>
          </ac:spMkLst>
        </pc:spChg>
        <pc:spChg chg="mod">
          <ac:chgData name="Alexandre Zanetti de Almeida" userId="129d4ce6-e715-4d33-b4c4-312f1656225b" providerId="ADAL" clId="{7AD9C9E4-D1AE-45AC-A839-3E72D235218A}" dt="2025-06-26T09:48:00.853" v="1490" actId="20577"/>
          <ac:spMkLst>
            <pc:docMk/>
            <pc:sldMk cId="1459291813" sldId="2147470305"/>
            <ac:spMk id="113" creationId="{D232A667-E19D-F672-84FD-611DF0343022}"/>
          </ac:spMkLst>
        </pc:spChg>
        <pc:spChg chg="mod">
          <ac:chgData name="Alexandre Zanetti de Almeida" userId="129d4ce6-e715-4d33-b4c4-312f1656225b" providerId="ADAL" clId="{7AD9C9E4-D1AE-45AC-A839-3E72D235218A}" dt="2025-06-26T09:48:08.403" v="1507" actId="20577"/>
          <ac:spMkLst>
            <pc:docMk/>
            <pc:sldMk cId="1459291813" sldId="2147470305"/>
            <ac:spMk id="114" creationId="{BA989D99-5904-8C2C-7F42-B8BB456FE6AE}"/>
          </ac:spMkLst>
        </pc:spChg>
        <pc:spChg chg="mod">
          <ac:chgData name="Alexandre Zanetti de Almeida" userId="129d4ce6-e715-4d33-b4c4-312f1656225b" providerId="ADAL" clId="{7AD9C9E4-D1AE-45AC-A839-3E72D235218A}" dt="2025-06-26T09:48:19.802" v="1510"/>
          <ac:spMkLst>
            <pc:docMk/>
            <pc:sldMk cId="1459291813" sldId="2147470305"/>
            <ac:spMk id="115" creationId="{3742925B-5E64-CE57-70D5-6C20A7EEB91B}"/>
          </ac:spMkLst>
        </pc:spChg>
        <pc:grpChg chg="add mod">
          <ac:chgData name="Alexandre Zanetti de Almeida" userId="129d4ce6-e715-4d33-b4c4-312f1656225b" providerId="ADAL" clId="{7AD9C9E4-D1AE-45AC-A839-3E72D235218A}" dt="2025-06-26T14:46:02.963" v="1728" actId="1036"/>
          <ac:grpSpMkLst>
            <pc:docMk/>
            <pc:sldMk cId="1459291813" sldId="2147470305"/>
            <ac:grpSpMk id="14" creationId="{EA15D8CA-F821-BA5F-0FC5-2E0F9EE988FF}"/>
          </ac:grpSpMkLst>
        </pc:grpChg>
        <pc:picChg chg="mod">
          <ac:chgData name="Alexandre Zanetti de Almeida" userId="129d4ce6-e715-4d33-b4c4-312f1656225b" providerId="ADAL" clId="{7AD9C9E4-D1AE-45AC-A839-3E72D235218A}" dt="2025-06-26T14:46:02.963" v="1728" actId="1036"/>
          <ac:picMkLst>
            <pc:docMk/>
            <pc:sldMk cId="1459291813" sldId="2147470305"/>
            <ac:picMk id="17" creationId="{18172668-9698-80F8-A6CF-EFDCFD4D12A5}"/>
          </ac:picMkLst>
        </pc:picChg>
      </pc:sldChg>
      <pc:sldChg chg="addSp delSp modSp add mod ord modShow">
        <pc:chgData name="Alexandre Zanetti de Almeida" userId="129d4ce6-e715-4d33-b4c4-312f1656225b" providerId="ADAL" clId="{7AD9C9E4-D1AE-45AC-A839-3E72D235218A}" dt="2025-07-15T12:09:00.101" v="2181"/>
        <pc:sldMkLst>
          <pc:docMk/>
          <pc:sldMk cId="316286447" sldId="2147470306"/>
        </pc:sldMkLst>
        <pc:spChg chg="mod">
          <ac:chgData name="Alexandre Zanetti de Almeida" userId="129d4ce6-e715-4d33-b4c4-312f1656225b" providerId="ADAL" clId="{7AD9C9E4-D1AE-45AC-A839-3E72D235218A}" dt="2025-06-26T14:48:06.079" v="1842" actId="14100"/>
          <ac:spMkLst>
            <pc:docMk/>
            <pc:sldMk cId="316286447" sldId="2147470306"/>
            <ac:spMk id="2" creationId="{E639FFC7-C8FE-B04C-1F7F-6B700F83E176}"/>
          </ac:spMkLst>
        </pc:spChg>
        <pc:spChg chg="mod">
          <ac:chgData name="Alexandre Zanetti de Almeida" userId="129d4ce6-e715-4d33-b4c4-312f1656225b" providerId="ADAL" clId="{7AD9C9E4-D1AE-45AC-A839-3E72D235218A}" dt="2025-06-26T14:45:57.713" v="1723" actId="1037"/>
          <ac:spMkLst>
            <pc:docMk/>
            <pc:sldMk cId="316286447" sldId="2147470306"/>
            <ac:spMk id="15" creationId="{4492AF03-BD2E-726E-FDB9-396771EBB71E}"/>
          </ac:spMkLst>
        </pc:spChg>
        <pc:spChg chg="mod">
          <ac:chgData name="Alexandre Zanetti de Almeida" userId="129d4ce6-e715-4d33-b4c4-312f1656225b" providerId="ADAL" clId="{7AD9C9E4-D1AE-45AC-A839-3E72D235218A}" dt="2025-07-04T13:24:36.647" v="2090" actId="255"/>
          <ac:spMkLst>
            <pc:docMk/>
            <pc:sldMk cId="316286447" sldId="2147470306"/>
            <ac:spMk id="68" creationId="{A54E3DC3-C85B-106D-EFEC-18DE52F173C9}"/>
          </ac:spMkLst>
        </pc:spChg>
        <pc:spChg chg="mod">
          <ac:chgData name="Alexandre Zanetti de Almeida" userId="129d4ce6-e715-4d33-b4c4-312f1656225b" providerId="ADAL" clId="{7AD9C9E4-D1AE-45AC-A839-3E72D235218A}" dt="2025-06-26T14:42:45.002" v="1682" actId="6549"/>
          <ac:spMkLst>
            <pc:docMk/>
            <pc:sldMk cId="316286447" sldId="2147470306"/>
            <ac:spMk id="81" creationId="{CD053FD7-B453-B5BE-B961-62E50D25F286}"/>
          </ac:spMkLst>
        </pc:spChg>
        <pc:spChg chg="mod">
          <ac:chgData name="Alexandre Zanetti de Almeida" userId="129d4ce6-e715-4d33-b4c4-312f1656225b" providerId="ADAL" clId="{7AD9C9E4-D1AE-45AC-A839-3E72D235218A}" dt="2025-06-26T14:42:56.006" v="1684" actId="400"/>
          <ac:spMkLst>
            <pc:docMk/>
            <pc:sldMk cId="316286447" sldId="2147470306"/>
            <ac:spMk id="82" creationId="{3EA856FA-4CB2-2C61-F3C5-EE038ECA2000}"/>
          </ac:spMkLst>
        </pc:spChg>
        <pc:spChg chg="mod">
          <ac:chgData name="Alexandre Zanetti de Almeida" userId="129d4ce6-e715-4d33-b4c4-312f1656225b" providerId="ADAL" clId="{7AD9C9E4-D1AE-45AC-A839-3E72D235218A}" dt="2025-06-26T14:34:23.314" v="1537" actId="108"/>
          <ac:spMkLst>
            <pc:docMk/>
            <pc:sldMk cId="316286447" sldId="2147470306"/>
            <ac:spMk id="113" creationId="{E955DE37-6ECC-18A5-EA85-29F422D1AAC0}"/>
          </ac:spMkLst>
        </pc:spChg>
        <pc:spChg chg="mod">
          <ac:chgData name="Alexandre Zanetti de Almeida" userId="129d4ce6-e715-4d33-b4c4-312f1656225b" providerId="ADAL" clId="{7AD9C9E4-D1AE-45AC-A839-3E72D235218A}" dt="2025-06-26T14:34:16.983" v="1535"/>
          <ac:spMkLst>
            <pc:docMk/>
            <pc:sldMk cId="316286447" sldId="2147470306"/>
            <ac:spMk id="114" creationId="{F80D2D9E-92E7-26D4-952C-8B11A71498D3}"/>
          </ac:spMkLst>
        </pc:spChg>
        <pc:spChg chg="mod">
          <ac:chgData name="Alexandre Zanetti de Almeida" userId="129d4ce6-e715-4d33-b4c4-312f1656225b" providerId="ADAL" clId="{7AD9C9E4-D1AE-45AC-A839-3E72D235218A}" dt="2025-06-26T14:34:18.545" v="1536"/>
          <ac:spMkLst>
            <pc:docMk/>
            <pc:sldMk cId="316286447" sldId="2147470306"/>
            <ac:spMk id="115" creationId="{BAF7EEA7-947E-1479-43E9-2CDA17312C1F}"/>
          </ac:spMkLst>
        </pc:spChg>
        <pc:grpChg chg="add mod">
          <ac:chgData name="Alexandre Zanetti de Almeida" userId="129d4ce6-e715-4d33-b4c4-312f1656225b" providerId="ADAL" clId="{7AD9C9E4-D1AE-45AC-A839-3E72D235218A}" dt="2025-06-26T14:45:57.713" v="1723" actId="1037"/>
          <ac:grpSpMkLst>
            <pc:docMk/>
            <pc:sldMk cId="316286447" sldId="2147470306"/>
            <ac:grpSpMk id="14" creationId="{67D793E5-A78F-CC92-ADBD-B5E4C40DEC29}"/>
          </ac:grpSpMkLst>
        </pc:grpChg>
        <pc:picChg chg="mod">
          <ac:chgData name="Alexandre Zanetti de Almeida" userId="129d4ce6-e715-4d33-b4c4-312f1656225b" providerId="ADAL" clId="{7AD9C9E4-D1AE-45AC-A839-3E72D235218A}" dt="2025-06-26T14:45:57.713" v="1723" actId="1037"/>
          <ac:picMkLst>
            <pc:docMk/>
            <pc:sldMk cId="316286447" sldId="2147470306"/>
            <ac:picMk id="17" creationId="{4DF7B050-B255-12A4-74DA-B638D2689290}"/>
          </ac:picMkLst>
        </pc:picChg>
      </pc:sldChg>
      <pc:sldChg chg="addSp delSp modSp add mod">
        <pc:chgData name="Alexandre Zanetti de Almeida" userId="129d4ce6-e715-4d33-b4c4-312f1656225b" providerId="ADAL" clId="{7AD9C9E4-D1AE-45AC-A839-3E72D235218A}" dt="2025-07-18T20:09:40.113" v="2218" actId="478"/>
        <pc:sldMkLst>
          <pc:docMk/>
          <pc:sldMk cId="1124747304" sldId="2147470307"/>
        </pc:sldMkLst>
      </pc:sldChg>
      <pc:sldChg chg="modSp add mod">
        <pc:chgData name="Alexandre Zanetti de Almeida" userId="129d4ce6-e715-4d33-b4c4-312f1656225b" providerId="ADAL" clId="{7AD9C9E4-D1AE-45AC-A839-3E72D235218A}" dt="2025-08-12T12:00:08.466" v="2635"/>
        <pc:sldMkLst>
          <pc:docMk/>
          <pc:sldMk cId="3897802803" sldId="2147470308"/>
        </pc:sldMkLst>
        <pc:spChg chg="mod">
          <ac:chgData name="Alexandre Zanetti de Almeida" userId="129d4ce6-e715-4d33-b4c4-312f1656225b" providerId="ADAL" clId="{7AD9C9E4-D1AE-45AC-A839-3E72D235218A}" dt="2025-08-12T11:52:52.855" v="2505" actId="6549"/>
          <ac:spMkLst>
            <pc:docMk/>
            <pc:sldMk cId="3897802803" sldId="2147470308"/>
            <ac:spMk id="2" creationId="{3DFDCA80-9493-D01A-D2D3-DAC9C3D675CA}"/>
          </ac:spMkLst>
        </pc:spChg>
        <pc:spChg chg="mod">
          <ac:chgData name="Alexandre Zanetti de Almeida" userId="129d4ce6-e715-4d33-b4c4-312f1656225b" providerId="ADAL" clId="{7AD9C9E4-D1AE-45AC-A839-3E72D235218A}" dt="2025-07-03T11:30:07.287" v="1865" actId="20577"/>
          <ac:spMkLst>
            <pc:docMk/>
            <pc:sldMk cId="3897802803" sldId="2147470308"/>
            <ac:spMk id="49" creationId="{05CB1162-9506-8E5E-294D-E2CD9671F047}"/>
          </ac:spMkLst>
        </pc:spChg>
        <pc:spChg chg="mod">
          <ac:chgData name="Alexandre Zanetti de Almeida" userId="129d4ce6-e715-4d33-b4c4-312f1656225b" providerId="ADAL" clId="{7AD9C9E4-D1AE-45AC-A839-3E72D235218A}" dt="2025-07-03T11:30:10.636" v="1868" actId="20577"/>
          <ac:spMkLst>
            <pc:docMk/>
            <pc:sldMk cId="3897802803" sldId="2147470308"/>
            <ac:spMk id="50" creationId="{8F4DBAB0-EABF-8CDB-4BD8-96FA5C2C13E3}"/>
          </ac:spMkLst>
        </pc:spChg>
        <pc:spChg chg="mod">
          <ac:chgData name="Alexandre Zanetti de Almeida" userId="129d4ce6-e715-4d33-b4c4-312f1656225b" providerId="ADAL" clId="{7AD9C9E4-D1AE-45AC-A839-3E72D235218A}" dt="2025-07-03T11:30:13.094" v="1871" actId="20577"/>
          <ac:spMkLst>
            <pc:docMk/>
            <pc:sldMk cId="3897802803" sldId="2147470308"/>
            <ac:spMk id="51" creationId="{A6EEE73C-5E5B-E284-09D1-806D61D561EE}"/>
          </ac:spMkLst>
        </pc:spChg>
        <pc:spChg chg="mod">
          <ac:chgData name="Alexandre Zanetti de Almeida" userId="129d4ce6-e715-4d33-b4c4-312f1656225b" providerId="ADAL" clId="{7AD9C9E4-D1AE-45AC-A839-3E72D235218A}" dt="2025-08-12T11:51:19.394" v="2370" actId="108"/>
          <ac:spMkLst>
            <pc:docMk/>
            <pc:sldMk cId="3897802803" sldId="2147470308"/>
            <ac:spMk id="68" creationId="{8B325CD3-88E2-9088-28D6-1478F48897A3}"/>
          </ac:spMkLst>
        </pc:spChg>
        <pc:spChg chg="mod">
          <ac:chgData name="Alexandre Zanetti de Almeida" userId="129d4ce6-e715-4d33-b4c4-312f1656225b" providerId="ADAL" clId="{7AD9C9E4-D1AE-45AC-A839-3E72D235218A}" dt="2025-08-12T12:00:08.466" v="2635"/>
          <ac:spMkLst>
            <pc:docMk/>
            <pc:sldMk cId="3897802803" sldId="2147470308"/>
            <ac:spMk id="80" creationId="{238B8B74-5A49-7622-6D4D-93C3400061A0}"/>
          </ac:spMkLst>
        </pc:spChg>
        <pc:spChg chg="mod">
          <ac:chgData name="Alexandre Zanetti de Almeida" userId="129d4ce6-e715-4d33-b4c4-312f1656225b" providerId="ADAL" clId="{7AD9C9E4-D1AE-45AC-A839-3E72D235218A}" dt="2025-08-12T12:00:06.621" v="2634"/>
          <ac:spMkLst>
            <pc:docMk/>
            <pc:sldMk cId="3897802803" sldId="2147470308"/>
            <ac:spMk id="81" creationId="{E007F5D7-9624-9F30-5E8F-C88A74CAE6D6}"/>
          </ac:spMkLst>
        </pc:spChg>
        <pc:spChg chg="mod">
          <ac:chgData name="Alexandre Zanetti de Almeida" userId="129d4ce6-e715-4d33-b4c4-312f1656225b" providerId="ADAL" clId="{7AD9C9E4-D1AE-45AC-A839-3E72D235218A}" dt="2025-07-03T11:30:31.066" v="1889"/>
          <ac:spMkLst>
            <pc:docMk/>
            <pc:sldMk cId="3897802803" sldId="2147470308"/>
            <ac:spMk id="82" creationId="{29BE2849-A041-66F1-1301-38E73DC4980E}"/>
          </ac:spMkLst>
        </pc:spChg>
        <pc:spChg chg="mod">
          <ac:chgData name="Alexandre Zanetti de Almeida" userId="129d4ce6-e715-4d33-b4c4-312f1656225b" providerId="ADAL" clId="{7AD9C9E4-D1AE-45AC-A839-3E72D235218A}" dt="2025-07-03T11:30:32.762" v="1890"/>
          <ac:spMkLst>
            <pc:docMk/>
            <pc:sldMk cId="3897802803" sldId="2147470308"/>
            <ac:spMk id="113" creationId="{DF3CA3D1-A927-8DB4-2004-060C6112DFE6}"/>
          </ac:spMkLst>
        </pc:spChg>
        <pc:spChg chg="mod">
          <ac:chgData name="Alexandre Zanetti de Almeida" userId="129d4ce6-e715-4d33-b4c4-312f1656225b" providerId="ADAL" clId="{7AD9C9E4-D1AE-45AC-A839-3E72D235218A}" dt="2025-07-03T11:30:34.222" v="1891"/>
          <ac:spMkLst>
            <pc:docMk/>
            <pc:sldMk cId="3897802803" sldId="2147470308"/>
            <ac:spMk id="114" creationId="{D68A16EA-B69E-21A1-0236-4246FF11CB4B}"/>
          </ac:spMkLst>
        </pc:spChg>
        <pc:spChg chg="mod">
          <ac:chgData name="Alexandre Zanetti de Almeida" userId="129d4ce6-e715-4d33-b4c4-312f1656225b" providerId="ADAL" clId="{7AD9C9E4-D1AE-45AC-A839-3E72D235218A}" dt="2025-07-03T11:30:35.600" v="1892"/>
          <ac:spMkLst>
            <pc:docMk/>
            <pc:sldMk cId="3897802803" sldId="2147470308"/>
            <ac:spMk id="115" creationId="{FE9257EF-C904-4CBF-A353-863DCA70DD9F}"/>
          </ac:spMkLst>
        </pc:spChg>
        <pc:spChg chg="mod">
          <ac:chgData name="Alexandre Zanetti de Almeida" userId="129d4ce6-e715-4d33-b4c4-312f1656225b" providerId="ADAL" clId="{7AD9C9E4-D1AE-45AC-A839-3E72D235218A}" dt="2025-07-03T11:30:21.298" v="1880" actId="20577"/>
          <ac:spMkLst>
            <pc:docMk/>
            <pc:sldMk cId="3897802803" sldId="2147470308"/>
            <ac:spMk id="122" creationId="{55656841-F9AA-EA3F-4A25-3270B39D6BD7}"/>
          </ac:spMkLst>
        </pc:spChg>
        <pc:spChg chg="mod">
          <ac:chgData name="Alexandre Zanetti de Almeida" userId="129d4ce6-e715-4d33-b4c4-312f1656225b" providerId="ADAL" clId="{7AD9C9E4-D1AE-45AC-A839-3E72D235218A}" dt="2025-07-03T11:30:18.681" v="1877" actId="20577"/>
          <ac:spMkLst>
            <pc:docMk/>
            <pc:sldMk cId="3897802803" sldId="2147470308"/>
            <ac:spMk id="123" creationId="{9A2F870F-3B98-08B7-12BF-5CB7C78BDE4C}"/>
          </ac:spMkLst>
        </pc:spChg>
        <pc:spChg chg="mod">
          <ac:chgData name="Alexandre Zanetti de Almeida" userId="129d4ce6-e715-4d33-b4c4-312f1656225b" providerId="ADAL" clId="{7AD9C9E4-D1AE-45AC-A839-3E72D235218A}" dt="2025-07-03T11:30:15.580" v="1874" actId="20577"/>
          <ac:spMkLst>
            <pc:docMk/>
            <pc:sldMk cId="3897802803" sldId="2147470308"/>
            <ac:spMk id="124" creationId="{1B294359-1CA4-C326-4C5F-53393BB40A53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8-12T12:12:38.538" v="2697" actId="108"/>
        <pc:sldMkLst>
          <pc:docMk/>
          <pc:sldMk cId="3451687335" sldId="2147470309"/>
        </pc:sldMkLst>
        <pc:spChg chg="mod">
          <ac:chgData name="Alexandre Zanetti de Almeida" userId="129d4ce6-e715-4d33-b4c4-312f1656225b" providerId="ADAL" clId="{7AD9C9E4-D1AE-45AC-A839-3E72D235218A}" dt="2025-08-12T12:09:09.724" v="2684" actId="6549"/>
          <ac:spMkLst>
            <pc:docMk/>
            <pc:sldMk cId="3451687335" sldId="2147470309"/>
            <ac:spMk id="2" creationId="{AD297642-77C2-D436-A144-F05145C6A2B9}"/>
          </ac:spMkLst>
        </pc:spChg>
        <pc:spChg chg="add del">
          <ac:chgData name="Alexandre Zanetti de Almeida" userId="129d4ce6-e715-4d33-b4c4-312f1656225b" providerId="ADAL" clId="{7AD9C9E4-D1AE-45AC-A839-3E72D235218A}" dt="2025-07-03T11:30:46.744" v="1895" actId="478"/>
          <ac:spMkLst>
            <pc:docMk/>
            <pc:sldMk cId="3451687335" sldId="2147470309"/>
            <ac:spMk id="5" creationId="{244F3088-C63F-211C-44D8-E616EC8FD1FC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47" creationId="{9225E46A-2AED-ABAE-C901-014482A0FE53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4" creationId="{ADCFA736-231A-4F3F-22F7-154B7AA0E270}"/>
          </ac:spMkLst>
        </pc:spChg>
        <pc:spChg chg="mod">
          <ac:chgData name="Alexandre Zanetti de Almeida" userId="129d4ce6-e715-4d33-b4c4-312f1656225b" providerId="ADAL" clId="{7AD9C9E4-D1AE-45AC-A839-3E72D235218A}" dt="2025-08-12T12:01:24.532" v="2653" actId="20577"/>
          <ac:spMkLst>
            <pc:docMk/>
            <pc:sldMk cId="3451687335" sldId="2147470309"/>
            <ac:spMk id="55" creationId="{A4EA4945-FB87-B729-CBE1-4352B886016F}"/>
          </ac:spMkLst>
        </pc:spChg>
        <pc:spChg chg="mod">
          <ac:chgData name="Alexandre Zanetti de Almeida" userId="129d4ce6-e715-4d33-b4c4-312f1656225b" providerId="ADAL" clId="{7AD9C9E4-D1AE-45AC-A839-3E72D235218A}" dt="2025-08-12T12:00:22.611" v="2636"/>
          <ac:spMkLst>
            <pc:docMk/>
            <pc:sldMk cId="3451687335" sldId="2147470309"/>
            <ac:spMk id="56" creationId="{42FE97CC-C51D-803F-71C0-DE3CFFF28E78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9" creationId="{2B102E5F-908E-48CF-C717-337004FEE675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0" creationId="{D4E2A489-248B-A301-9579-45009BFA9D4F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1" creationId="{759E8DF1-F28D-892F-8B52-384BCC55E5A1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4" creationId="{19BB059A-DCC8-6CB3-D1C1-DB6348BF237B}"/>
          </ac:spMkLst>
        </pc:spChg>
        <pc:spChg chg="mod">
          <ac:chgData name="Alexandre Zanetti de Almeida" userId="129d4ce6-e715-4d33-b4c4-312f1656225b" providerId="ADAL" clId="{7AD9C9E4-D1AE-45AC-A839-3E72D235218A}" dt="2025-08-12T12:12:38.538" v="2697" actId="108"/>
          <ac:spMkLst>
            <pc:docMk/>
            <pc:sldMk cId="3451687335" sldId="2147470309"/>
            <ac:spMk id="68" creationId="{473B80D9-67C3-6246-510D-6AB140805252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70" creationId="{BA334031-0A27-F21B-C3F2-FC1927C276FE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77" creationId="{4336848F-C388-7AC0-8CB9-680A44FEABFB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84" creationId="{5B3204F6-5289-04E5-D972-196B58CFBA3C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8-12T12:13:01.881" v="2700" actId="108"/>
        <pc:sldMkLst>
          <pc:docMk/>
          <pc:sldMk cId="2538063378" sldId="2147470310"/>
        </pc:sldMkLst>
        <pc:spChg chg="mod">
          <ac:chgData name="Alexandre Zanetti de Almeida" userId="129d4ce6-e715-4d33-b4c4-312f1656225b" providerId="ADAL" clId="{7AD9C9E4-D1AE-45AC-A839-3E72D235218A}" dt="2025-08-12T11:53:57.360" v="2521"/>
          <ac:spMkLst>
            <pc:docMk/>
            <pc:sldMk cId="2538063378" sldId="2147470310"/>
            <ac:spMk id="2" creationId="{BDB8AFA2-9173-6360-9236-8BB749771129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18" creationId="{926276A5-D13B-CC1A-8378-4815A1FC3F66}"/>
          </ac:spMkLst>
        </pc:spChg>
        <pc:spChg chg="mod">
          <ac:chgData name="Alexandre Zanetti de Almeida" userId="129d4ce6-e715-4d33-b4c4-312f1656225b" providerId="ADAL" clId="{7AD9C9E4-D1AE-45AC-A839-3E72D235218A}" dt="2025-08-12T12:01:44.985" v="2654"/>
          <ac:spMkLst>
            <pc:docMk/>
            <pc:sldMk cId="2538063378" sldId="2147470310"/>
            <ac:spMk id="19" creationId="{672FE395-9A45-CED2-D933-75DE0C176C90}"/>
          </ac:spMkLst>
        </pc:spChg>
        <pc:spChg chg="mod">
          <ac:chgData name="Alexandre Zanetti de Almeida" userId="129d4ce6-e715-4d33-b4c4-312f1656225b" providerId="ADAL" clId="{7AD9C9E4-D1AE-45AC-A839-3E72D235218A}" dt="2025-08-12T12:01:02.518" v="2646" actId="6549"/>
          <ac:spMkLst>
            <pc:docMk/>
            <pc:sldMk cId="2538063378" sldId="2147470310"/>
            <ac:spMk id="20" creationId="{1CB3446A-C275-01ED-4A0E-471FBF6AFBD3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25" creationId="{21B132F9-7475-86AC-259F-3F2FCE798576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26" creationId="{17294704-483A-8F95-3B78-2304D4DB74CC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2" creationId="{E9EAAD27-F5B3-CC2D-4666-E75582706A55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5" creationId="{D3A59BC1-5111-11C6-AA4F-D70E9A6454B6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6" creationId="{0208129C-D4E5-CF57-076F-A768C104F2B4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7" creationId="{702D44AA-226D-E948-FB70-20A461DEA787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9" creationId="{DB0203E7-9CDA-3785-C89A-63C88BFD5BBE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40" creationId="{1E021280-2C14-A194-4EC8-A33B5A8A253F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45" creationId="{A4E8A768-1D09-3FAA-EC26-37C47ECB8E89}"/>
          </ac:spMkLst>
        </pc:spChg>
        <pc:spChg chg="mod">
          <ac:chgData name="Alexandre Zanetti de Almeida" userId="129d4ce6-e715-4d33-b4c4-312f1656225b" providerId="ADAL" clId="{7AD9C9E4-D1AE-45AC-A839-3E72D235218A}" dt="2025-08-12T12:13:01.881" v="2700" actId="108"/>
          <ac:spMkLst>
            <pc:docMk/>
            <pc:sldMk cId="2538063378" sldId="2147470310"/>
            <ac:spMk id="68" creationId="{75A950D8-9E35-2477-3D27-24CFD6CB8523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8-12T12:13:32.453" v="2706" actId="108"/>
        <pc:sldMkLst>
          <pc:docMk/>
          <pc:sldMk cId="4084511335" sldId="2147470311"/>
        </pc:sldMkLst>
        <pc:spChg chg="mod">
          <ac:chgData name="Alexandre Zanetti de Almeida" userId="129d4ce6-e715-4d33-b4c4-312f1656225b" providerId="ADAL" clId="{7AD9C9E4-D1AE-45AC-A839-3E72D235218A}" dt="2025-08-12T12:03:08.859" v="2676" actId="6549"/>
          <ac:spMkLst>
            <pc:docMk/>
            <pc:sldMk cId="4084511335" sldId="2147470311"/>
            <ac:spMk id="2" creationId="{7534041D-0EE9-2E08-37B1-449B15E208B9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15" creationId="{B5CEF9E3-5534-6C6C-A062-168A1496EAD1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18" creationId="{95CAE237-E098-2204-D33A-3B4906EFF7EA}"/>
          </ac:spMkLst>
        </pc:spChg>
        <pc:spChg chg="mod">
          <ac:chgData name="Alexandre Zanetti de Almeida" userId="129d4ce6-e715-4d33-b4c4-312f1656225b" providerId="ADAL" clId="{7AD9C9E4-D1AE-45AC-A839-3E72D235218A}" dt="2025-08-12T12:10:29.037" v="2687"/>
          <ac:spMkLst>
            <pc:docMk/>
            <pc:sldMk cId="4084511335" sldId="2147470311"/>
            <ac:spMk id="19" creationId="{CD6689CC-C971-5649-EA3E-E505D86EF02D}"/>
          </ac:spMkLst>
        </pc:spChg>
        <pc:spChg chg="mod">
          <ac:chgData name="Alexandre Zanetti de Almeida" userId="129d4ce6-e715-4d33-b4c4-312f1656225b" providerId="ADAL" clId="{7AD9C9E4-D1AE-45AC-A839-3E72D235218A}" dt="2025-08-12T12:02:53.646" v="2674" actId="108"/>
          <ac:spMkLst>
            <pc:docMk/>
            <pc:sldMk cId="4084511335" sldId="2147470311"/>
            <ac:spMk id="20" creationId="{B6B5A268-14CD-DB5E-F783-F0443CEDD956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24" creationId="{3C4AD673-F80A-D06D-8672-EAC7A8C112E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26" creationId="{A5185382-1CF7-8015-29AA-6C05968A191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4" creationId="{F9D8A3A1-3499-FA18-5A0D-9BE01564DEB0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6" creationId="{A457287F-4463-7DB0-E47D-4D10191DFC93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9" creationId="{A5650CA6-6C57-4C14-376B-2AAF0B80E228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40" creationId="{C2026915-4C3B-30AE-6FE6-37AAABE6C430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45" creationId="{7EC1D4F8-D415-2AF1-C6D8-6692A545FCCD}"/>
          </ac:spMkLst>
        </pc:spChg>
        <pc:spChg chg="mod">
          <ac:chgData name="Alexandre Zanetti de Almeida" userId="129d4ce6-e715-4d33-b4c4-312f1656225b" providerId="ADAL" clId="{7AD9C9E4-D1AE-45AC-A839-3E72D235218A}" dt="2025-08-12T12:13:32.453" v="2706" actId="108"/>
          <ac:spMkLst>
            <pc:docMk/>
            <pc:sldMk cId="4084511335" sldId="2147470311"/>
            <ac:spMk id="68" creationId="{33240CD6-2B10-C098-2A7F-75BB361D301F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8-12T12:14:29.701" v="2723" actId="108"/>
        <pc:sldMkLst>
          <pc:docMk/>
          <pc:sldMk cId="1954888133" sldId="2147470312"/>
        </pc:sldMkLst>
        <pc:spChg chg="mod">
          <ac:chgData name="Alexandre Zanetti de Almeida" userId="129d4ce6-e715-4d33-b4c4-312f1656225b" providerId="ADAL" clId="{7AD9C9E4-D1AE-45AC-A839-3E72D235218A}" dt="2025-08-12T12:12:00.001" v="2694" actId="6549"/>
          <ac:spMkLst>
            <pc:docMk/>
            <pc:sldMk cId="1954888133" sldId="2147470312"/>
            <ac:spMk id="2" creationId="{5C320DF1-CEEC-6597-903D-66F6996CC06B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15" creationId="{2E5CFB6A-5C45-6A14-9024-A67ED1075F92}"/>
          </ac:spMkLst>
        </pc:spChg>
        <pc:spChg chg="mod">
          <ac:chgData name="Alexandre Zanetti de Almeida" userId="129d4ce6-e715-4d33-b4c4-312f1656225b" providerId="ADAL" clId="{7AD9C9E4-D1AE-45AC-A839-3E72D235218A}" dt="2025-08-12T12:01:55.243" v="2657"/>
          <ac:spMkLst>
            <pc:docMk/>
            <pc:sldMk cId="1954888133" sldId="2147470312"/>
            <ac:spMk id="19" creationId="{468E3393-648F-77F6-8944-5C57FAA2916A}"/>
          </ac:spMkLst>
        </pc:spChg>
        <pc:spChg chg="mod">
          <ac:chgData name="Alexandre Zanetti de Almeida" userId="129d4ce6-e715-4d33-b4c4-312f1656225b" providerId="ADAL" clId="{7AD9C9E4-D1AE-45AC-A839-3E72D235218A}" dt="2025-08-12T12:11:48.422" v="2692"/>
          <ac:spMkLst>
            <pc:docMk/>
            <pc:sldMk cId="1954888133" sldId="2147470312"/>
            <ac:spMk id="20" creationId="{A36BCE06-A099-3332-3A4E-04313840D705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23" creationId="{C0B98171-897E-5F4D-A3A6-771630651977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25" creationId="{E3B23EC7-4462-F003-E2CB-05C5A934F2C8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2" creationId="{47545403-9120-06C2-0979-7A7898F6CDBC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5" creationId="{BBC804A9-7266-8E16-EA24-075AB5A19016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6" creationId="{2F26743A-6CDC-05E2-78DF-FFD3C4676BB3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9" creationId="{CDD89241-EDBA-038B-EBAF-6AE24FC98394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0" creationId="{AE693164-AB41-47A9-9AEC-834985778B79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2" creationId="{342D7B49-94AE-89E4-A08B-E431C2A21E43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5" creationId="{D11439B6-9503-3D97-6C27-AED0025EB2C9}"/>
          </ac:spMkLst>
        </pc:spChg>
        <pc:spChg chg="mod">
          <ac:chgData name="Alexandre Zanetti de Almeida" userId="129d4ce6-e715-4d33-b4c4-312f1656225b" providerId="ADAL" clId="{7AD9C9E4-D1AE-45AC-A839-3E72D235218A}" dt="2025-08-12T12:14:29.701" v="2723" actId="108"/>
          <ac:spMkLst>
            <pc:docMk/>
            <pc:sldMk cId="1954888133" sldId="2147470312"/>
            <ac:spMk id="68" creationId="{CB9DD5C0-FD83-6E13-DA3F-9EB5D1215197}"/>
          </ac:spMkLst>
        </pc:spChg>
      </pc:sldChg>
      <pc:sldChg chg="addSp delSp modSp add mod ord">
        <pc:chgData name="Alexandre Zanetti de Almeida" userId="129d4ce6-e715-4d33-b4c4-312f1656225b" providerId="ADAL" clId="{7AD9C9E4-D1AE-45AC-A839-3E72D235218A}" dt="2025-08-12T12:14:34.185" v="2724" actId="108"/>
        <pc:sldMkLst>
          <pc:docMk/>
          <pc:sldMk cId="2426779336" sldId="2147470313"/>
        </pc:sldMkLst>
        <pc:spChg chg="mod">
          <ac:chgData name="Alexandre Zanetti de Almeida" userId="129d4ce6-e715-4d33-b4c4-312f1656225b" providerId="ADAL" clId="{7AD9C9E4-D1AE-45AC-A839-3E72D235218A}" dt="2025-08-12T12:11:29.224" v="2691" actId="6549"/>
          <ac:spMkLst>
            <pc:docMk/>
            <pc:sldMk cId="2426779336" sldId="2147470313"/>
            <ac:spMk id="2" creationId="{E5A6BF1B-5561-8791-5479-F76D8E484DEF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0" creationId="{6E482327-75A8-92AB-6344-AB62D6A3F650}"/>
          </ac:spMkLst>
        </pc:spChg>
        <pc:spChg chg="mod">
          <ac:chgData name="Alexandre Zanetti de Almeida" userId="129d4ce6-e715-4d33-b4c4-312f1656225b" providerId="ADAL" clId="{7AD9C9E4-D1AE-45AC-A839-3E72D235218A}" dt="2025-08-12T12:01:53.197" v="2656"/>
          <ac:spMkLst>
            <pc:docMk/>
            <pc:sldMk cId="2426779336" sldId="2147470313"/>
            <ac:spMk id="21" creationId="{ED82B7A9-65A0-DC3C-2284-96E2381B9831}"/>
          </ac:spMkLst>
        </pc:spChg>
        <pc:spChg chg="mod">
          <ac:chgData name="Alexandre Zanetti de Almeida" userId="129d4ce6-e715-4d33-b4c4-312f1656225b" providerId="ADAL" clId="{7AD9C9E4-D1AE-45AC-A839-3E72D235218A}" dt="2025-08-12T12:11:14.368" v="2689"/>
          <ac:spMkLst>
            <pc:docMk/>
            <pc:sldMk cId="2426779336" sldId="2147470313"/>
            <ac:spMk id="22" creationId="{872221CC-86B7-B187-3DE0-6EE1620D3FF0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7" creationId="{526979F4-A11F-7641-1646-0976ADAAEF82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9" creationId="{7ADE3D72-FE72-1F94-CDE7-E38F8B4F02CD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0" creationId="{ACA9F5F7-74AB-C8F6-F7E2-62FD5262C926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7" creationId="{FD068B9A-8122-7718-B5AE-D42331F00F17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8" creationId="{46A376FF-6711-2C1C-179D-C897C7DA810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9" creationId="{F832768D-FE31-971F-2372-CBB4908EA3C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46" creationId="{CB739F01-AB81-DFE8-2E5E-0B2F33B9AAB6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47" creationId="{75D87E90-6BAF-67F4-0424-76F42CC41F7F}"/>
          </ac:spMkLst>
        </pc:spChg>
        <pc:spChg chg="mod">
          <ac:chgData name="Alexandre Zanetti de Almeida" userId="129d4ce6-e715-4d33-b4c4-312f1656225b" providerId="ADAL" clId="{7AD9C9E4-D1AE-45AC-A839-3E72D235218A}" dt="2025-08-12T12:14:34.185" v="2724" actId="108"/>
          <ac:spMkLst>
            <pc:docMk/>
            <pc:sldMk cId="2426779336" sldId="2147470313"/>
            <ac:spMk id="68" creationId="{3BCF68D6-1E13-16AE-4669-BC590EB9C23C}"/>
          </ac:spMkLst>
        </pc:spChg>
      </pc:sldChg>
      <pc:sldChg chg="addSp delSp modSp add mod ord">
        <pc:chgData name="Alexandre Zanetti de Almeida" userId="129d4ce6-e715-4d33-b4c4-312f1656225b" providerId="ADAL" clId="{7AD9C9E4-D1AE-45AC-A839-3E72D235218A}" dt="2025-08-12T12:14:26.263" v="2722" actId="108"/>
        <pc:sldMkLst>
          <pc:docMk/>
          <pc:sldMk cId="1764769990" sldId="2147470314"/>
        </pc:sldMkLst>
        <pc:spChg chg="mod">
          <ac:chgData name="Alexandre Zanetti de Almeida" userId="129d4ce6-e715-4d33-b4c4-312f1656225b" providerId="ADAL" clId="{7AD9C9E4-D1AE-45AC-A839-3E72D235218A}" dt="2025-07-24T11:05:15.955" v="2358" actId="108"/>
          <ac:spMkLst>
            <pc:docMk/>
            <pc:sldMk cId="1764769990" sldId="2147470314"/>
            <ac:spMk id="2" creationId="{84B2F2C4-8388-EE3F-5EAC-EEEE437649D6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18" creationId="{E3FA4D2D-9E84-4ABE-45D7-35AC482D3E5C}"/>
          </ac:spMkLst>
        </pc:spChg>
        <pc:spChg chg="mod">
          <ac:chgData name="Alexandre Zanetti de Almeida" userId="129d4ce6-e715-4d33-b4c4-312f1656225b" providerId="ADAL" clId="{7AD9C9E4-D1AE-45AC-A839-3E72D235218A}" dt="2025-08-12T12:01:58.232" v="2658"/>
          <ac:spMkLst>
            <pc:docMk/>
            <pc:sldMk cId="1764769990" sldId="2147470314"/>
            <ac:spMk id="21" creationId="{84F0C2D4-2554-5F23-AE07-3D808FA29F8E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22" creationId="{8364E25F-2261-38F0-5F3F-DDEA618DE78B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25" creationId="{A52D7AD2-1DF1-B4CC-E25C-CD81DB680F3F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7" creationId="{7D1C3C31-530D-3651-D21C-BE0C85F32E53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8" creationId="{60DCC049-7794-2B45-14D6-908AC74C3C90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9" creationId="{2EF4B4D7-ED66-FD46-C9AE-5E0FC5299966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1" creationId="{CEAA1A69-3339-1F47-42F6-B27242F3981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4" creationId="{14EA6804-B707-67E0-0FAA-5ADDCB2ABDA2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5" creationId="{5356C359-FE76-786F-E418-5C91A778E82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7" creationId="{9B50C010-86AA-7C92-ACC7-38B6E2413A53}"/>
          </ac:spMkLst>
        </pc:spChg>
        <pc:spChg chg="mod">
          <ac:chgData name="Alexandre Zanetti de Almeida" userId="129d4ce6-e715-4d33-b4c4-312f1656225b" providerId="ADAL" clId="{7AD9C9E4-D1AE-45AC-A839-3E72D235218A}" dt="2025-08-12T12:14:26.263" v="2722" actId="108"/>
          <ac:spMkLst>
            <pc:docMk/>
            <pc:sldMk cId="1764769990" sldId="2147470314"/>
            <ac:spMk id="68" creationId="{B4B4211E-7542-804F-6A2C-88ECB3514525}"/>
          </ac:spMkLst>
        </pc:spChg>
      </pc:sldChg>
      <pc:sldChg chg="modSp add mod">
        <pc:chgData name="Alexandre Zanetti de Almeida" userId="129d4ce6-e715-4d33-b4c4-312f1656225b" providerId="ADAL" clId="{7AD9C9E4-D1AE-45AC-A839-3E72D235218A}" dt="2025-07-10T14:49:40.390" v="2114" actId="20577"/>
        <pc:sldMkLst>
          <pc:docMk/>
          <pc:sldMk cId="231326526" sldId="2147470315"/>
        </pc:sldMkLst>
        <pc:spChg chg="mod">
          <ac:chgData name="Alexandre Zanetti de Almeida" userId="129d4ce6-e715-4d33-b4c4-312f1656225b" providerId="ADAL" clId="{7AD9C9E4-D1AE-45AC-A839-3E72D235218A}" dt="2025-07-10T14:49:40.390" v="2114" actId="20577"/>
          <ac:spMkLst>
            <pc:docMk/>
            <pc:sldMk cId="231326526" sldId="2147470315"/>
            <ac:spMk id="7" creationId="{A6ABC054-10AC-F06D-73CB-FB5E77CFBD07}"/>
          </ac:spMkLst>
        </pc:spChg>
      </pc:sldChg>
      <pc:sldChg chg="addSp delSp modSp new mod">
        <pc:chgData name="Alexandre Zanetti de Almeida" userId="129d4ce6-e715-4d33-b4c4-312f1656225b" providerId="ADAL" clId="{7AD9C9E4-D1AE-45AC-A839-3E72D235218A}" dt="2025-07-24T10:57:45.606" v="2243"/>
        <pc:sldMkLst>
          <pc:docMk/>
          <pc:sldMk cId="3602678974" sldId="2147470316"/>
        </pc:sldMkLst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5" creationId="{D44D1711-EF6C-1473-EA7D-FA7C74D50197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6" creationId="{B77DADFF-2A08-7125-5BA0-67277451B392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8" creationId="{C5683391-0009-2353-775A-EED32DFBB3BB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9" creationId="{FE60577F-A183-C54B-51CC-7E25CFD538E3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0" creationId="{685BAE6D-667D-CAEA-0853-1CA05D5766DF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1" creationId="{EF6613C4-6B4C-CCBC-FD65-223DE6822899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3" creationId="{892529CA-27D8-A01E-474C-4C665666FAC3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4" creationId="{B67B528C-5393-EF87-59CC-CD4DE6878052}"/>
          </ac:spMkLst>
        </pc:spChg>
        <pc:spChg chg="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21" creationId="{67FB0466-3445-669D-23B6-C93E70010F3F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23" creationId="{D080F8CD-30B7-2FDD-A0F4-0CA8F3E1E7B5}"/>
          </ac:spMkLst>
        </pc:spChg>
      </pc:sldChg>
    </pc:docChg>
  </pc:docChgLst>
  <pc:docChgLst>
    <pc:chgData name="Alexandre Zanetti de Almeida" userId="129d4ce6-e715-4d33-b4c4-312f1656225b" providerId="ADAL" clId="{23DAED39-1F66-4F0B-AC83-5EC3D850C707}"/>
    <pc:docChg chg="undo custSel addSld delSld modSld modSection">
      <pc:chgData name="Alexandre Zanetti de Almeida" userId="129d4ce6-e715-4d33-b4c4-312f1656225b" providerId="ADAL" clId="{23DAED39-1F66-4F0B-AC83-5EC3D850C707}" dt="2025-05-13T13:10:38.965" v="355" actId="20577"/>
      <pc:docMkLst>
        <pc:docMk/>
      </pc:docMkLst>
      <pc:sldChg chg="modSp mod">
        <pc:chgData name="Alexandre Zanetti de Almeida" userId="129d4ce6-e715-4d33-b4c4-312f1656225b" providerId="ADAL" clId="{23DAED39-1F66-4F0B-AC83-5EC3D850C707}" dt="2025-05-13T11:22:37.800" v="14" actId="20577"/>
        <pc:sldMkLst>
          <pc:docMk/>
          <pc:sldMk cId="3565198220" sldId="257"/>
        </pc:sldMkLst>
      </pc:sldChg>
      <pc:sldChg chg="del">
        <pc:chgData name="Alexandre Zanetti de Almeida" userId="129d4ce6-e715-4d33-b4c4-312f1656225b" providerId="ADAL" clId="{23DAED39-1F66-4F0B-AC83-5EC3D850C707}" dt="2025-05-13T11:32:38.170" v="305" actId="47"/>
        <pc:sldMkLst>
          <pc:docMk/>
          <pc:sldMk cId="3206762266" sldId="2147470243"/>
        </pc:sldMkLst>
      </pc:sldChg>
      <pc:sldChg chg="del">
        <pc:chgData name="Alexandre Zanetti de Almeida" userId="129d4ce6-e715-4d33-b4c4-312f1656225b" providerId="ADAL" clId="{23DAED39-1F66-4F0B-AC83-5EC3D850C707}" dt="2025-05-13T11:32:39.142" v="306" actId="47"/>
        <pc:sldMkLst>
          <pc:docMk/>
          <pc:sldMk cId="833500908" sldId="2147470259"/>
        </pc:sldMkLst>
      </pc:sldChg>
      <pc:sldChg chg="del">
        <pc:chgData name="Alexandre Zanetti de Almeida" userId="129d4ce6-e715-4d33-b4c4-312f1656225b" providerId="ADAL" clId="{23DAED39-1F66-4F0B-AC83-5EC3D850C707}" dt="2025-05-13T11:32:39.819" v="307" actId="47"/>
        <pc:sldMkLst>
          <pc:docMk/>
          <pc:sldMk cId="366406553" sldId="2147470263"/>
        </pc:sldMkLst>
      </pc:sldChg>
      <pc:sldChg chg="modSp mod modShow">
        <pc:chgData name="Alexandre Zanetti de Almeida" userId="129d4ce6-e715-4d33-b4c4-312f1656225b" providerId="ADAL" clId="{23DAED39-1F66-4F0B-AC83-5EC3D850C707}" dt="2025-05-13T11:23:35.134" v="33" actId="6549"/>
        <pc:sldMkLst>
          <pc:docMk/>
          <pc:sldMk cId="932104382" sldId="2147470265"/>
        </pc:sldMkLst>
      </pc:sldChg>
      <pc:sldChg chg="mod modShow">
        <pc:chgData name="Alexandre Zanetti de Almeida" userId="129d4ce6-e715-4d33-b4c4-312f1656225b" providerId="ADAL" clId="{23DAED39-1F66-4F0B-AC83-5EC3D850C707}" dt="2025-05-13T11:27:09.503" v="111" actId="729"/>
        <pc:sldMkLst>
          <pc:docMk/>
          <pc:sldMk cId="1140124133" sldId="2147470274"/>
        </pc:sldMkLst>
      </pc:sldChg>
      <pc:sldChg chg="modSp 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1056299241" sldId="2147470279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4079523240" sldId="2147470280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98271423" sldId="2147470281"/>
        </pc:sldMkLst>
      </pc:sldChg>
      <pc:sldChg chg="modSp add mod">
        <pc:chgData name="Alexandre Zanetti de Almeida" userId="129d4ce6-e715-4d33-b4c4-312f1656225b" providerId="ADAL" clId="{23DAED39-1F66-4F0B-AC83-5EC3D850C707}" dt="2025-05-13T11:24:25.251" v="61" actId="108"/>
        <pc:sldMkLst>
          <pc:docMk/>
          <pc:sldMk cId="2817282654" sldId="2147470283"/>
        </pc:sldMkLst>
      </pc:sldChg>
      <pc:sldChg chg="modSp add mod">
        <pc:chgData name="Alexandre Zanetti de Almeida" userId="129d4ce6-e715-4d33-b4c4-312f1656225b" providerId="ADAL" clId="{23DAED39-1F66-4F0B-AC83-5EC3D850C707}" dt="2025-05-13T11:31:34.892" v="282" actId="13926"/>
        <pc:sldMkLst>
          <pc:docMk/>
          <pc:sldMk cId="57506138" sldId="2147470284"/>
        </pc:sldMkLst>
      </pc:sldChg>
      <pc:sldChg chg="modSp add mod">
        <pc:chgData name="Alexandre Zanetti de Almeida" userId="129d4ce6-e715-4d33-b4c4-312f1656225b" providerId="ADAL" clId="{23DAED39-1F66-4F0B-AC83-5EC3D850C707}" dt="2025-05-13T13:10:38.965" v="355" actId="20577"/>
        <pc:sldMkLst>
          <pc:docMk/>
          <pc:sldMk cId="481838124" sldId="2147470285"/>
        </pc:sldMkLst>
      </pc:sldChg>
      <pc:sldChg chg="modSp add mod">
        <pc:chgData name="Alexandre Zanetti de Almeida" userId="129d4ce6-e715-4d33-b4c4-312f1656225b" providerId="ADAL" clId="{23DAED39-1F66-4F0B-AC83-5EC3D850C707}" dt="2025-05-13T11:28:34.904" v="143" actId="20577"/>
        <pc:sldMkLst>
          <pc:docMk/>
          <pc:sldMk cId="1173113283" sldId="2147470286"/>
        </pc:sldMkLst>
      </pc:sldChg>
      <pc:sldChg chg="modSp add mod">
        <pc:chgData name="Alexandre Zanetti de Almeida" userId="129d4ce6-e715-4d33-b4c4-312f1656225b" providerId="ADAL" clId="{23DAED39-1F66-4F0B-AC83-5EC3D850C707}" dt="2025-05-13T11:32:18.908" v="304" actId="20577"/>
        <pc:sldMkLst>
          <pc:docMk/>
          <pc:sldMk cId="20244889" sldId="2147470287"/>
        </pc:sldMkLst>
      </pc:sldChg>
      <pc:sldChg chg="addSp delSp modSp add mod">
        <pc:chgData name="Alexandre Zanetti de Almeida" userId="129d4ce6-e715-4d33-b4c4-312f1656225b" providerId="ADAL" clId="{23DAED39-1F66-4F0B-AC83-5EC3D850C707}" dt="2025-05-13T12:56:33.546" v="338" actId="13926"/>
        <pc:sldMkLst>
          <pc:docMk/>
          <pc:sldMk cId="4066329794" sldId="214747028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12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alexandre.zanetti@br.ibm.com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900788" TargetMode="External"/><Relationship Id="rId13" Type="http://schemas.openxmlformats.org/officeDocument/2006/relationships/hyperlink" Target="https://reports.rchland.ibm.com/cgi-bin/sf?TS014667687" TargetMode="External"/><Relationship Id="rId18" Type="http://schemas.openxmlformats.org/officeDocument/2006/relationships/hyperlink" Target="https://reports.rchland.ibm.com/cgi-bin/sf?TS01693299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7" Type="http://schemas.openxmlformats.org/officeDocument/2006/relationships/hyperlink" Target="https://reports.rchland.ibm.com/cgi-bin/sf?TS015347054" TargetMode="External"/><Relationship Id="rId12" Type="http://schemas.openxmlformats.org/officeDocument/2006/relationships/hyperlink" Target="https://reports.rchland.ibm.com/cgi-bin/sf?TS015879483" TargetMode="External"/><Relationship Id="rId17" Type="http://schemas.openxmlformats.org/officeDocument/2006/relationships/hyperlink" Target="https://reports.rchland.ibm.com/cgi-bin/sf?TS019090514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8516761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626556" TargetMode="External"/><Relationship Id="rId11" Type="http://schemas.openxmlformats.org/officeDocument/2006/relationships/hyperlink" Target="https://reports.rchland.ibm.com/cgi-bin/sf?TS015339398" TargetMode="External"/><Relationship Id="rId5" Type="http://schemas.openxmlformats.org/officeDocument/2006/relationships/hyperlink" Target="https://reports.rchland.ibm.com/cgi-bin/sf?TS012829622" TargetMode="External"/><Relationship Id="rId15" Type="http://schemas.openxmlformats.org/officeDocument/2006/relationships/hyperlink" Target="https://reports.rchland.ibm.com/cgi-bin/sf?TS017922422" TargetMode="External"/><Relationship Id="rId10" Type="http://schemas.openxmlformats.org/officeDocument/2006/relationships/hyperlink" Target="https://reports.rchland.ibm.com/cgi-bin/sf?TS015676001" TargetMode="External"/><Relationship Id="rId19" Type="http://schemas.openxmlformats.org/officeDocument/2006/relationships/hyperlink" Target="https://reports.rchland.ibm.com/cgi-bin/sf?TS017081424" TargetMode="External"/><Relationship Id="rId4" Type="http://schemas.openxmlformats.org/officeDocument/2006/relationships/hyperlink" Target="https://reports.rchland.ibm.com/cgi-bin/sf?TS017122302" TargetMode="External"/><Relationship Id="rId9" Type="http://schemas.openxmlformats.org/officeDocument/2006/relationships/hyperlink" Target="https://reports.rchland.ibm.com/cgi-bin/sf?TS012998725" TargetMode="External"/><Relationship Id="rId14" Type="http://schemas.openxmlformats.org/officeDocument/2006/relationships/hyperlink" Target="https://reports.rchland.ibm.com/cgi-bin/sf?TS016934374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116021" TargetMode="External"/><Relationship Id="rId13" Type="http://schemas.openxmlformats.org/officeDocument/2006/relationships/hyperlink" Target="https://reports.rchland.ibm.com/cgi-bin/sf?TS017555328" TargetMode="External"/><Relationship Id="rId18" Type="http://schemas.openxmlformats.org/officeDocument/2006/relationships/hyperlink" Target="https://reports.rchland.ibm.com/cgi-bin/sf?TS006615311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21" Type="http://schemas.openxmlformats.org/officeDocument/2006/relationships/hyperlink" Target="https://reports.rchland.ibm.com/cgi-bin/sf?TS003882859" TargetMode="External"/><Relationship Id="rId7" Type="http://schemas.openxmlformats.org/officeDocument/2006/relationships/hyperlink" Target="https://reports.rchland.ibm.com/cgi-bin/sf?TS015162011" TargetMode="External"/><Relationship Id="rId12" Type="http://schemas.openxmlformats.org/officeDocument/2006/relationships/hyperlink" Target="https://reports.rchland.ibm.com/cgi-bin/sf?TS017417232" TargetMode="External"/><Relationship Id="rId17" Type="http://schemas.openxmlformats.org/officeDocument/2006/relationships/hyperlink" Target="https://reports.rchland.ibm.com/cgi-bin/sf?TS013129356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3106092" TargetMode="External"/><Relationship Id="rId20" Type="http://schemas.openxmlformats.org/officeDocument/2006/relationships/hyperlink" Target="https://reports.rchland.ibm.com/cgi-bin/sf?TS004377613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3660926" TargetMode="External"/><Relationship Id="rId11" Type="http://schemas.openxmlformats.org/officeDocument/2006/relationships/hyperlink" Target="https://reports.rchland.ibm.com/cgi-bin/sf?TS016984091" TargetMode="External"/><Relationship Id="rId5" Type="http://schemas.openxmlformats.org/officeDocument/2006/relationships/hyperlink" Target="https://reports.rchland.ibm.com/cgi-bin/sf?TS013801872" TargetMode="External"/><Relationship Id="rId15" Type="http://schemas.openxmlformats.org/officeDocument/2006/relationships/hyperlink" Target="https://reports.rchland.ibm.com/cgi-bin/sf?TS019697385" TargetMode="External"/><Relationship Id="rId10" Type="http://schemas.openxmlformats.org/officeDocument/2006/relationships/hyperlink" Target="https://reports.rchland.ibm.com/cgi-bin/sf?TS016023761" TargetMode="External"/><Relationship Id="rId19" Type="http://schemas.openxmlformats.org/officeDocument/2006/relationships/hyperlink" Target="https://reports.rchland.ibm.com/cgi-bin/sf?TS006640086" TargetMode="External"/><Relationship Id="rId4" Type="http://schemas.openxmlformats.org/officeDocument/2006/relationships/hyperlink" Target="https://reports.rchland.ibm.com/cgi-bin/sf?TS015161174" TargetMode="External"/><Relationship Id="rId9" Type="http://schemas.openxmlformats.org/officeDocument/2006/relationships/hyperlink" Target="https://reports.rchland.ibm.com/cgi-bin/sf?TS015115330" TargetMode="External"/><Relationship Id="rId14" Type="http://schemas.openxmlformats.org/officeDocument/2006/relationships/hyperlink" Target="https://reports.rchland.ibm.com/cgi-bin/sf?TS017776123" TargetMode="Externa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hyperlink" Target="https://reports.rchland.ibm.com/cgi-bin/sf?TS013824471" TargetMode="External"/><Relationship Id="rId18" Type="http://schemas.openxmlformats.org/officeDocument/2006/relationships/hyperlink" Target="https://reports.rchland.ibm.com/cgi-bin/sf?TS015984777" TargetMode="External"/><Relationship Id="rId26" Type="http://schemas.openxmlformats.org/officeDocument/2006/relationships/hyperlink" Target="https://reports.rchland.ibm.com/cgi-bin/sf?TS012712078" TargetMode="External"/><Relationship Id="rId39" Type="http://schemas.openxmlformats.org/officeDocument/2006/relationships/hyperlink" Target="https://reports.rchland.ibm.com/cgi-bin/sf?TS018387592" TargetMode="External"/><Relationship Id="rId21" Type="http://schemas.openxmlformats.org/officeDocument/2006/relationships/hyperlink" Target="https://reports.rchland.ibm.com/cgi-bin/sf?TS015984800" TargetMode="External"/><Relationship Id="rId34" Type="http://schemas.openxmlformats.org/officeDocument/2006/relationships/hyperlink" Target="https://reports.rchland.ibm.com/cgi-bin/sf?TS016180180" TargetMode="External"/><Relationship Id="rId42" Type="http://schemas.openxmlformats.org/officeDocument/2006/relationships/hyperlink" Target="https://reports.rchland.ibm.com/cgi-bin/sf?TS018474316" TargetMode="External"/><Relationship Id="rId47" Type="http://schemas.openxmlformats.org/officeDocument/2006/relationships/hyperlink" Target="https://reports.rchland.ibm.com/cgi-bin/sf?TS018613872" TargetMode="External"/><Relationship Id="rId50" Type="http://schemas.openxmlformats.org/officeDocument/2006/relationships/hyperlink" Target="https://reports.rchland.ibm.com/cgi-bin/sf?TS019243496" TargetMode="External"/><Relationship Id="rId7" Type="http://schemas.openxmlformats.org/officeDocument/2006/relationships/hyperlink" Target="https://reports.rchland.ibm.com/cgi-bin/sf?TS015984849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5984844" TargetMode="External"/><Relationship Id="rId29" Type="http://schemas.openxmlformats.org/officeDocument/2006/relationships/hyperlink" Target="https://reports.rchland.ibm.com/cgi-bin/sf?TS015984641" TargetMode="External"/><Relationship Id="rId11" Type="http://schemas.openxmlformats.org/officeDocument/2006/relationships/hyperlink" Target="https://reports.rchland.ibm.com/cgi-bin/sf?TS014998583" TargetMode="External"/><Relationship Id="rId24" Type="http://schemas.openxmlformats.org/officeDocument/2006/relationships/hyperlink" Target="https://reports.rchland.ibm.com/cgi-bin/sf?TS015984714" TargetMode="External"/><Relationship Id="rId32" Type="http://schemas.openxmlformats.org/officeDocument/2006/relationships/hyperlink" Target="https://reports.rchland.ibm.com/cgi-bin/sf?TS014516713" TargetMode="External"/><Relationship Id="rId37" Type="http://schemas.openxmlformats.org/officeDocument/2006/relationships/hyperlink" Target="https://reports.rchland.ibm.com/cgi-bin/sf?TS017419591" TargetMode="External"/><Relationship Id="rId40" Type="http://schemas.openxmlformats.org/officeDocument/2006/relationships/hyperlink" Target="https://reports.rchland.ibm.com/cgi-bin/sf?TS018400294" TargetMode="External"/><Relationship Id="rId45" Type="http://schemas.openxmlformats.org/officeDocument/2006/relationships/hyperlink" Target="https://reports.rchland.ibm.com/cgi-bin/sf?TS018606318" TargetMode="External"/><Relationship Id="rId5" Type="http://schemas.openxmlformats.org/officeDocument/2006/relationships/hyperlink" Target="https://reports.rchland.ibm.com/cgi-bin/sf?TS015621299" TargetMode="External"/><Relationship Id="rId15" Type="http://schemas.openxmlformats.org/officeDocument/2006/relationships/hyperlink" Target="https://reports.rchland.ibm.com/cgi-bin/sf?TS016171946" TargetMode="External"/><Relationship Id="rId23" Type="http://schemas.openxmlformats.org/officeDocument/2006/relationships/hyperlink" Target="https://reports.rchland.ibm.com/cgi-bin/sf?TS015984693" TargetMode="External"/><Relationship Id="rId28" Type="http://schemas.openxmlformats.org/officeDocument/2006/relationships/hyperlink" Target="https://reports.rchland.ibm.com/cgi-bin/sf?TS014497347" TargetMode="External"/><Relationship Id="rId36" Type="http://schemas.openxmlformats.org/officeDocument/2006/relationships/hyperlink" Target="https://reports.rchland.ibm.com/cgi-bin/sf?TS017038830" TargetMode="External"/><Relationship Id="rId49" Type="http://schemas.openxmlformats.org/officeDocument/2006/relationships/hyperlink" Target="https://reports.rchland.ibm.com/cgi-bin/sf?TS019027860" TargetMode="External"/><Relationship Id="rId10" Type="http://schemas.openxmlformats.org/officeDocument/2006/relationships/hyperlink" Target="https://reports.rchland.ibm.com/cgi-bin/sf?TS015984659" TargetMode="External"/><Relationship Id="rId19" Type="http://schemas.openxmlformats.org/officeDocument/2006/relationships/hyperlink" Target="https://reports.rchland.ibm.com/cgi-bin/sf?TS015984671" TargetMode="External"/><Relationship Id="rId31" Type="http://schemas.openxmlformats.org/officeDocument/2006/relationships/hyperlink" Target="https://reports.rchland.ibm.com/cgi-bin/sf?TS015536044" TargetMode="External"/><Relationship Id="rId44" Type="http://schemas.openxmlformats.org/officeDocument/2006/relationships/hyperlink" Target="https://reports.rchland.ibm.com/cgi-bin/sf?TS018600112" TargetMode="External"/><Relationship Id="rId4" Type="http://schemas.openxmlformats.org/officeDocument/2006/relationships/hyperlink" Target="https://reports.rchland.ibm.com/cgi-bin/sf?TS014656008" TargetMode="External"/><Relationship Id="rId9" Type="http://schemas.openxmlformats.org/officeDocument/2006/relationships/hyperlink" Target="https://reports.rchland.ibm.com/cgi-bin/sf?TS015479721" TargetMode="External"/><Relationship Id="rId14" Type="http://schemas.openxmlformats.org/officeDocument/2006/relationships/hyperlink" Target="https://reports.rchland.ibm.com/cgi-bin/sf?TS016149274" TargetMode="External"/><Relationship Id="rId22" Type="http://schemas.openxmlformats.org/officeDocument/2006/relationships/hyperlink" Target="https://reports.rchland.ibm.com/cgi-bin/sf?TS015984761" TargetMode="External"/><Relationship Id="rId27" Type="http://schemas.openxmlformats.org/officeDocument/2006/relationships/hyperlink" Target="https://reports.rchland.ibm.com/cgi-bin/sf?TS015926194" TargetMode="External"/><Relationship Id="rId30" Type="http://schemas.openxmlformats.org/officeDocument/2006/relationships/hyperlink" Target="https://reports.rchland.ibm.com/cgi-bin/sf?TS015535908" TargetMode="External"/><Relationship Id="rId35" Type="http://schemas.openxmlformats.org/officeDocument/2006/relationships/hyperlink" Target="https://reports.rchland.ibm.com/cgi-bin/sf?TS016939549" TargetMode="External"/><Relationship Id="rId43" Type="http://schemas.openxmlformats.org/officeDocument/2006/relationships/hyperlink" Target="https://reports.rchland.ibm.com/cgi-bin/sf?TS018461802" TargetMode="External"/><Relationship Id="rId48" Type="http://schemas.openxmlformats.org/officeDocument/2006/relationships/hyperlink" Target="https://reports.rchland.ibm.com/cgi-bin/sf?TS018972746" TargetMode="External"/><Relationship Id="rId8" Type="http://schemas.openxmlformats.org/officeDocument/2006/relationships/hyperlink" Target="https://reports.rchland.ibm.com/cgi-bin/sf?TS01620443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12" Type="http://schemas.openxmlformats.org/officeDocument/2006/relationships/hyperlink" Target="https://reports.rchland.ibm.com/cgi-bin/sf?TS014206713" TargetMode="External"/><Relationship Id="rId17" Type="http://schemas.openxmlformats.org/officeDocument/2006/relationships/hyperlink" Target="https://reports.rchland.ibm.com/cgi-bin/sf?TS015984663" TargetMode="External"/><Relationship Id="rId25" Type="http://schemas.openxmlformats.org/officeDocument/2006/relationships/hyperlink" Target="https://reports.rchland.ibm.com/cgi-bin/sf?TS016005898" TargetMode="External"/><Relationship Id="rId33" Type="http://schemas.openxmlformats.org/officeDocument/2006/relationships/hyperlink" Target="https://reports.rchland.ibm.com/cgi-bin/sf?TS016204830" TargetMode="External"/><Relationship Id="rId38" Type="http://schemas.openxmlformats.org/officeDocument/2006/relationships/hyperlink" Target="https://reports.rchland.ibm.com/cgi-bin/sf?TS017889111" TargetMode="External"/><Relationship Id="rId46" Type="http://schemas.openxmlformats.org/officeDocument/2006/relationships/hyperlink" Target="https://reports.rchland.ibm.com/cgi-bin/sf?TS018601409" TargetMode="External"/><Relationship Id="rId20" Type="http://schemas.openxmlformats.org/officeDocument/2006/relationships/hyperlink" Target="https://reports.rchland.ibm.com/cgi-bin/sf?TS015984644" TargetMode="External"/><Relationship Id="rId41" Type="http://schemas.openxmlformats.org/officeDocument/2006/relationships/hyperlink" Target="https://reports.rchland.ibm.com/cgi-bin/sf?TS018401038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495872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hyperlink" Target="https://ibm.biz/avaliacao-cs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bm.biz/linkedin-integra-x" TargetMode="External"/><Relationship Id="rId5" Type="http://schemas.openxmlformats.org/officeDocument/2006/relationships/image" Target="../media/image26.png"/><Relationship Id="rId4" Type="http://schemas.openxmlformats.org/officeDocument/2006/relationships/hyperlink" Target="https://ibm.biz/ibm-integra-x" TargetMode="External"/><Relationship Id="rId9" Type="http://schemas.openxmlformats.org/officeDocument/2006/relationships/image" Target="../media/image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8.png"/><Relationship Id="rId3" Type="http://schemas.openxmlformats.org/officeDocument/2006/relationships/image" Target="../media/image30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7.png"/><Relationship Id="rId2" Type="http://schemas.openxmlformats.org/officeDocument/2006/relationships/image" Target="../media/image29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6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5.png"/><Relationship Id="rId28" Type="http://schemas.openxmlformats.org/officeDocument/2006/relationships/image" Target="../media/image40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4.png"/><Relationship Id="rId27" Type="http://schemas.openxmlformats.org/officeDocument/2006/relationships/image" Target="../media/image3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ibmsalesconfigurator.com/#/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6.png"/><Relationship Id="rId4" Type="http://schemas.openxmlformats.org/officeDocument/2006/relationships/hyperlink" Target="https://www.ibm.com/support/pages/lifecycle/search?q=ibm%20mq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6.png"/><Relationship Id="rId4" Type="http://schemas.openxmlformats.org/officeDocument/2006/relationships/hyperlink" Target="https://www.ibm.com/support/pages/lifecycle/search/?q=ibm%20Datapower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ibm%20event%20stream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png"/><Relationship Id="rId4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png"/><Relationship Id="rId4" Type="http://schemas.openxmlformats.org/officeDocument/2006/relationships/image" Target="../media/image4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D944818-612B-E934-0B95-E6FCA5DAF5BD}"/>
              </a:ext>
            </a:extLst>
          </p:cNvPr>
          <p:cNvSpPr txBox="1"/>
          <p:nvPr/>
        </p:nvSpPr>
        <p:spPr>
          <a:xfrm>
            <a:off x="8520172" y="5162413"/>
            <a:ext cx="1063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18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4</a:t>
            </a:r>
          </a:p>
        </p:txBody>
      </p:sp>
      <p:pic>
        <p:nvPicPr>
          <p:cNvPr id="1027" name="Picture 3">
            <a:extLst>
              <a:ext uri="{FF2B5EF4-FFF2-40B4-BE49-F238E27FC236}">
                <a16:creationId xmlns:a16="http://schemas.microsoft.com/office/drawing/2014/main" id="{FD6D9039-4E6A-43E1-B0B4-23C47C323A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023" y="1675833"/>
            <a:ext cx="3774877" cy="331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1675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05 Agosto 2025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6E613984-11D7-B66D-31D2-0B82EA126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6C719A6-63D1-B214-8308-735CCFBB19D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6641EC0-51F8-2288-C464-2DC8AC1974CF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708EC07-016B-4DC4-9E19-105433556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C16FF5A-EB3F-3A6C-1FB4-B81077994A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B5FDDA4-C3A7-E5A6-F39F-F99285B85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89D0D3-023D-D2F7-5435-158D4CDAC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B5AAA56-BF01-1378-496C-F18ABCB51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04A8FA-0811-14E9-6300-58B4D1C443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0A29B4-709A-F201-C45D-C90E703C9A7B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6AA797-F274-FAC6-22AA-681AD4F6AA0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334E916-D434-AC3A-0B11-078DBDDD86BA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12E6A6-5BF5-3A3F-6BE6-662D77AE4CC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896361C-C227-9D49-CB6E-4C8B815038F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EDBE686-8D56-3943-206D-01BBC10C861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9782924C-A33C-BDA6-2DDF-EF3C863461F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AFCF568-767C-1C83-E17A-57F0975D96A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86E13D55-E39D-02AF-9E02-FCC9B97F567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 do Bradesc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5076F38-F3A3-0028-8F87-B234461B94B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02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D1A9FCE-C13E-9970-5843-E39DBAF4A13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C6212CD-3750-B6FC-F122-7422D55B28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E1762732-D7BD-0572-35B7-9569AE68F36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C2FE759-BB79-6A20-ADD3-2FCFFE82C11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23FBD9F4-C2AD-FB7E-F1EB-1B859D966EF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C9A23FB4-A7D5-105B-9A0C-E61ADC7B1690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139F82AC-6DDC-04FF-25E2-1343BC97783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43D70B7-8D4B-7C6D-78AB-29415F5104D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91FC95AA-BF52-30E5-2CB0-98CF34EF13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045095D-7CB7-3FE9-D86E-7DA7AEE6B1F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8B2895D9-FCB9-90EA-5839-10C229C60C2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5B20AF7-0BF9-497F-BAF2-0F7C6567CD9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901A60E-9A3C-5FAF-24F0-3F5E9B371839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 02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3327D97-8B12-4F8C-64FE-2CD7C73157F0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2D8BE515-4EF6-36A7-340F-36AAA32D398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do BEX (Catalogo do Bradesco)</a:t>
              </a:r>
              <a:endParaRPr lang="pt-BR" sz="1000" strike="sngStrike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32300724-4031-D100-8EB6-9874E80F6A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28B1923D-4A8E-248E-6FDC-641477E02B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3EF7ABC-3FE2-4A89-9765-43211EA7EBA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2FD5A162-F892-2CD7-D10F-998821CAD4F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7C088E18-484E-AB71-9310-F12C7670921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6240F35-5A00-4FFE-00F3-F0FA5FF9580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E4E4DDD-1D45-4752-8B3A-5AD8E064103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1888A7A-C3E7-FEF4-1C7F-7E2A215D02F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5E569E17-CB42-605C-6611-7F56042721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60862B6B-742C-9D18-C8D8-2CF81341E26A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2F853CE-CBFB-43B3-1AEF-6292CD197C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4118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CAF8F44-84DA-F7F3-8231-4AC8D0E8DB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B3B5A5D-2883-4C5E-0FBB-D1C5D6FF4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8602BB-A4C6-2E0E-EF4A-47EADB5CB5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634AF8-2B96-3D35-AB2E-4C8D29837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A1182C-F3EA-43D4-9D82-05FE003B77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4282B45-3D89-CA80-84EE-B3E884BBE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DCA80-9493-D01A-D2D3-DAC9C3D675C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Arquiteturas MQ (Zaza/Erick)  08/08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5227EB-430D-30F7-3E73-8647C41417A6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B325CD3-88E2-9088-28D6-1478F48897A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9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5/08/2025 (PO)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FAF944F-4783-BEE0-73E4-016BF1F1DFC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E907518-FF99-B3E4-1065-BAEF4C481474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C25AAC6-C506-1D87-64E4-8AD008D57F17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471A521C-45D2-DF85-659D-9FC4EDD9A3C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8B8B74-5A49-7622-6D4D-93C3400061A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t. 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007F5D7-9624-9F30-5E8F-C88A74CAE6D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kshop de Arquiteturas MQ no OCP  08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t. 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9BE2849-A041-66F1-1301-38E73DC4980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5A68C2F3-90C9-68AA-8D84-4DB09B416CA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E7BC330A-1CB5-90F5-FC23-19036240FE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B82A46F-3E63-B5E3-E9A0-BA4F1AEBAE4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ECC29ACD-9E8D-59CB-F078-319011D0A41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DFFA8BB2-66C0-D342-6296-726B359EF1B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05CB1162-9506-8E5E-294D-E2CD9671F04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8F4DBAB0-EABF-8CDB-4BD8-96FA5C2C13E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A6EEE73C-5E5B-E284-09D1-806D61D561E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B247992-8CE2-BA12-D5D0-0CE8AF34031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D0526BC8-6E2C-1729-15DD-5E698150D9B6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9429D74E-73AD-158B-C7D2-9CA595F717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015486B8-2F6D-6590-4EC5-16D30BA2709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F3CA3D1-A927-8DB4-2004-060C6112DFE6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68A16EA-B69E-21A1-0236-4246FF11CB4B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FE9257EF-C904-4CBF-A353-863DCA70DD9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952AD85-6981-918E-41E8-143B5C0EAE57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A0BC45C7-CFD6-8EEA-9F20-11BFB0E1E5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29DD9D86-7F52-60C8-38B1-448B5CA625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95872A90-68A9-04BA-8D29-7EC5E5D8FF9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4772411A-CE49-019F-2906-815C774733E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55656841-F9AA-EA3F-4A25-3270B39D6BD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9A2F870F-3B98-08B7-12BF-5CB7C78BDE4C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1B294359-1CA4-C326-4C5F-53393BB40A5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B5ABCFF0-9D39-60C9-FA78-E834A89F5E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82A86995-3ECB-7C13-CF4E-351349565E17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4BCC6F4-ECC1-52CB-44A0-941979C325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78028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6E530D-5B8E-59BB-41DC-7126ED223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FE63771-2807-7903-2065-97B1F0161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E8E827-D660-27F1-F83D-150A0DD5C3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DDA3F3-DD8A-5581-9BED-EB5F45F40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A3193C-F1B8-1F14-7389-D63D75E59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8D3D8B-B22D-17AC-DC97-C28D85CE29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A11D21-E0C8-445E-C4C7-2DEE33DA6521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6EA49D-D3A5-87A4-0D31-BC903D91FB8A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0CEAB8B-AF15-7719-4FBB-54194ABD0BD7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03BB3C0-EAF6-E6F8-6CB1-9ADC873C169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92B217-EE69-43EA-1547-71B666813A9F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F7D0F7A4-89C4-6AF8-6CC3-04F9AABDB55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C1894DF-BC58-2DD8-85B2-80F75F16FA3F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56CE2DBF-749D-B1AC-DE31-6ABFA3F9A6F2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217E475-E4C4-E1CB-C11F-D118456F53AF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iu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BD8A310B-262F-A71F-5642-2E3D1737AD6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Agendar 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roposta de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agendado 0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685548F7-BDFD-DB3C-6867-D7E134EEBA6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A6CFD1E1-7E5C-AFA8-0980-F62514AE7F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51E0BC1B-F218-A3EF-0460-97D375E1DA3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353C87F-7C14-7E57-415E-1E0058B39FF2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96EFA56-4DDD-9A18-4947-EAAD00B2E39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BF2764EB-FB04-965D-9482-FA4F8ADB9BE9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72305C7-68A2-8201-555E-29FF5D8D977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F8DAAB0A-FFE0-FD21-4CBF-4459AB76A02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2BE13E28-AC10-0E7B-4152-4D13F02B208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482CF12B-6C94-23B6-F8AD-5EB05A5DC4A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3302725C-0C33-AC44-AB09-BEC0FD829B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F9FD478B-93A9-644F-EBF4-B7051B18A214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659C8AA-58AF-5885-6DD5-3F8DAD1373E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informou que vai remover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Infra  Cancelado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oadma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Trabalhar nos Reports do DPOD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943D12D0-E647-5A30-46F3-E578F2028CC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ppliancel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N-PRD 05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nos Reports do DPOD 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cript para coleta MON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 06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1 d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6/05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01A9912B-4DEA-63F8-1D10-1F8CA0F95CE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  06/2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2 novas coletas NMON 16/06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o 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ntendimento</a:t>
              </a:r>
              <a:r>
                <a:rPr lang="pt-BR" sz="1000" dirty="0" err="1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BD</a:t>
              </a:r>
              <a:endParaRPr lang="pt-BR" sz="10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Avaliar  Modernização/DR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D72C039F-196A-B3CD-63B5-CFC65077566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78826F0B-EEB9-8542-ADD4-3E5F88949A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1F78770C-B89E-E287-6B51-8F3F2C85D8B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897ABD5E-3B0A-197B-5C10-591FEB1CEC8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D21A558C-CD0C-5A5C-B512-3EFCC03BFC1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6BFF173-7EAB-E849-6D58-F3FDDCCDF88A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8EA16F07-A0D7-8671-2223-3D69C37D164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81137992-2A87-3600-2752-6064105E83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6E5DBB9F-DDE6-34BF-7D0A-540B341FAE9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2BE1DA6-69E7-0C02-296F-12564E64C3C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B2C2B882-8B72-7DD0-DA7F-0C1B5291DE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2251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67FD64F-CA25-9E33-8EAD-16F7D04749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175B9E5F-039F-8CD9-4393-EB5EDEB5F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72DD75-4B99-5FEB-3C11-DF4CFFABC1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0C69AD-23F3-55B8-E7B5-D02AF57989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0A0035-FF78-59E3-75AF-EB67824E2B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E3DD64-B239-63E0-CC8A-1C27F307F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297642-77C2-D436-A144-F05145C6A2B9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Migração Appliance  Virtual TU/TI/HO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5F7E0-5DB5-A418-E566-C2170EBAC96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73B80D9-67C3-6246-510D-6AB14080525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9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5/08/2025 (PO)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4F3088-C63F-211C-44D8-E616EC8FD1FC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324FCE80-6F0E-327B-9AEA-FEA7155606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1DE5C987-003E-7FC2-B0B9-43C685F0EEF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225E46A-2AED-ABAE-C901-014482A0FE53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AAC782F-6169-8DDC-5FEA-77CAB356B364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DCFA736-231A-4F3F-22F7-154B7AA0E27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4EA4945-FB87-B729-CBE1-4352B886016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?: Atualizar fluxos MQ8 p/ MQ9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 V1.0 p/ cliente 04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Avaliar  Modernização/DR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2FE97CC-C51D-803F-71C0-DE3CFFF28E7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 TU/TI/H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 V1.0 p/ cliente 04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 PR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Avaliar  Modernização/DR</a:t>
              </a: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57B8492-1CBC-4691-A79F-79BF401D6264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C953F73-DF1A-1A5A-C824-A77F3B1AAD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79" name="Straight Arrow Connector 4">
                <a:extLst>
                  <a:ext uri="{FF2B5EF4-FFF2-40B4-BE49-F238E27FC236}">
                    <a16:creationId xmlns:a16="http://schemas.microsoft.com/office/drawing/2014/main" id="{99397BC8-57AB-CDD0-A7CC-9B68246784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Oval 6">
                <a:extLst>
                  <a:ext uri="{FF2B5EF4-FFF2-40B4-BE49-F238E27FC236}">
                    <a16:creationId xmlns:a16="http://schemas.microsoft.com/office/drawing/2014/main" id="{B9C851AA-54EA-B5F6-9564-2311F251DCE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4" name="Oval 6">
                <a:extLst>
                  <a:ext uri="{FF2B5EF4-FFF2-40B4-BE49-F238E27FC236}">
                    <a16:creationId xmlns:a16="http://schemas.microsoft.com/office/drawing/2014/main" id="{5B3204F6-5289-04E5-D972-196B58CFBA3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8166EFE-9AAE-AD24-4262-5B4FCE4002A5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59ADA8BA-1DB2-90CC-6730-216762D03BA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228FBB14-938C-ACF1-D9CE-D8C80C704FF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067CE31F-8B52-632D-3A44-46D43860337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86" name="Oval 6">
                <a:extLst>
                  <a:ext uri="{FF2B5EF4-FFF2-40B4-BE49-F238E27FC236}">
                    <a16:creationId xmlns:a16="http://schemas.microsoft.com/office/drawing/2014/main" id="{2B7635C0-7E81-EC98-586B-BE60E60F849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B102E5F-908E-48CF-C717-337004FEE675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4E2A489-248B-A301-9579-45009BFA9D4F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59E8DF1-F28D-892F-8B52-384BCC55E5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DD898D38-D414-6939-F581-B74243F5995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B199382-EE0B-BAE1-1B9A-67A466C8C8E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19BB059A-DCC8-6CB3-D1C1-DB6348BF237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F5CE2A0-7D0C-667D-2C01-C78289EEBFD2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9C749442-3F84-B78C-4A28-A6CBBA00E6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D80BB2-418F-2F0A-2991-4613C7A216B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BA334031-0A27-F21B-C3F2-FC1927C276F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35BEAF44-BC31-5D96-10E8-1F0EC733B4A3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069FA010-8B84-8AD7-EFEF-471624F6F21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4336848F-C388-7AC0-8CB9-680A44FEABF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B3FB09C6-4525-B97F-ADDC-64F6559AA52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5" name="Oval 6">
                <a:extLst>
                  <a:ext uri="{FF2B5EF4-FFF2-40B4-BE49-F238E27FC236}">
                    <a16:creationId xmlns:a16="http://schemas.microsoft.com/office/drawing/2014/main" id="{5E6002CC-26EC-DDAB-C217-DAE2B6B9A29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1687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7514E84-2ABB-B591-775C-71B9BA56F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9BCD3BA-EC87-E373-A7B3-C1B64FE4BA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FEE3BC-AC07-328A-EC08-F34181AB7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9B492D-902B-2DAD-3825-A21C3A864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DCD31C-BA93-EB3E-4DC4-FDFF2DB8D1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7D2A30-9C3A-9327-FEB4-F2F5BDA099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3804D4A-0F11-C830-BBFE-DDFCCB8E5997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b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060B5A-EDE7-36BE-37DA-4BF4A2488F82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4D8C5C4-2476-EAE0-83DD-61CEB1955282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yana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DF6AC28-8FC2-E4D9-9846-185A0188318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8710642-B137-A5F0-AF23-FCB05804D72E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B639271-8A3F-5324-75CB-04BC8D7EB683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9C802D9-71F8-AC66-6F36-F96BBA14CF09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CDAAEF1-19B1-98D2-4084-87B55F6A167C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6402C097-A217-8980-EE5E-EEE2968D1AC9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5B2298DE-BAFF-51D2-BDD3-DDF7C25E47F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ive numa reunião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 sobre publicação do BEX (Catalogo do Bradesco)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459788F-B925-BA55-04C4-FF462CC618C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90F1DF52-45C0-3916-F6B8-0A56DC1612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C6F2AB8F-FC98-5365-07E4-2A63822FAF5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BD00992-05DF-0601-80F6-0931CC77379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530E09F-C317-D472-588C-C9A4E1D13E5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676B8B57-2AC3-9947-8310-18E48FFCFCD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5EFADD49-2C1E-794F-BC8C-CCD9D8DAE3D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5679FA2-0215-FABC-B5CF-02F3CEAF101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ED91AFB-4C07-BB45-687A-49963010439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16BA3FEC-9966-3D49-1EE0-F1DB49FEB7A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EE775E1-B0F2-F99E-2365-A8F895C9086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DCD7D3A-F441-19AE-32FB-035B2D05A6E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10C7A11-7A90-33EE-16E2-0F16F7D37693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DE3A444-A764-4F6F-786E-830BD50CAAE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li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conseguiu uma agenda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E5E27E1D-CD79-0F01-8426-8755570AC0E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AFDFC03-7025-99B5-1D3F-821DB58005F8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614198F-6980-F70F-AAD4-BC40377DA1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0C0F19F-CE36-DC52-206A-54BAB082DC5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187B643-7E47-9126-21C3-0BF3B617A6A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2EE3F22-1FD7-FF56-DB42-06E0D5B0DE5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F6D29B41-62B7-EE8F-B7D8-9B28FC1BA8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1E5DAF33-8F26-69B4-433C-AC95FD444B68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6BE388-9C02-44AD-93D8-1F318EF76CC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82CD5838-D8B1-4901-15E8-94A376B85EF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D580D31-83D5-706E-FAE5-9946439B02E5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64CDD554-CC7F-7C57-A6DB-56DFFA1157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0914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6FF3AC-46D5-F41C-2833-E9F73AEEDF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1552A0F-D57C-FD7C-6187-5CE01B1A73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E1415B-C3A6-2AAD-4933-33A5DCE2D6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BAC348-37A1-1D5F-6E98-D491EC3A6C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68ED8B-089C-A448-D713-A0E2752980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725CCF-6E75-D604-B0E3-6D8B756F11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B8AFA2-9173-6360-9236-8BB749771129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1F163C-D1BC-C890-392A-4BFB426F34C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5A950D8-9E35-2477-3D27-24CFD6CB8523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yana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9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5/08/2025 (PO)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58572D-491B-2039-301F-737E78472E0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E53CA020-5A23-213A-8B2C-1CD09E6FD0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EBE480E-36DF-9C26-3B7C-C08B1196F894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B26B9B6-67FF-0F68-2023-BAC776EEF9EA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4116266-3F8C-19FB-E350-477928AAC47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26276A5-D13B-CC1A-8378-4815A1FC3F66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72FE395-9A45-CED2-D933-75DE0C176C9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CB3446A-C275-01ED-4A0E-471FBF6AFBD3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3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B1A2C29-3699-811D-9DA5-DB4084DE2485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E358C9B-6A6A-7090-5B2F-F27CB3511A0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B8D12302-94DC-ABBA-63BA-FF33153D0B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DB0203E7-9CDA-3785-C89A-63C88BFD5BB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1E021280-2C14-A194-4EC8-A33B5A8A253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3DDEA584-7FB8-8EC8-38B0-9E224B19679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66256F3C-187E-F3A8-F0D1-AF28B99433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97BDE0AA-47B4-B24B-B981-E2697947E6B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4E8A768-1D09-3FAA-EC26-37C47ECB8E8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9016DA2A-4D24-4F9A-66A2-39AE30C5665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DF1C846-14EE-274D-0AC4-DB0C5E2C7EA6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5669CC2-2DEE-8427-18E1-BAA41B31889A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1B132F9-7475-86AC-259F-3F2FCE798576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7294704-483A-8F95-3B78-2304D4DB74CC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83FD0E1-BABC-7153-BF4C-6EB4A2BACF3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17616F4-05EA-C066-EA0F-BCD25B149B24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C3701B7-45DA-E3B1-6C34-0B25035D6F8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FB53432F-69BB-BF73-54AC-3360534054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EFECC971-682D-3E88-FB69-DCA2A2574A8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E9EAAD27-F5B3-CC2D-4666-E75582706A5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44D0E092-883A-31C6-2D13-B98797A41A6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D3A59BC1-5111-11C6-AA4F-D70E9A6454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0208129C-D4E5-CF57-076F-A768C104F2B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02D44AA-226D-E948-FB70-20A461DEA7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0F8B554-AE5A-93AC-4C07-CFDCD625859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80633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F29316F-C61B-A20B-C2A6-047D7E6E9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27FA5F4-CDEA-CCBD-5B9C-544F90A5C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ECD57E-F7F4-2E05-9C35-648C8C498E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E80BEE-6605-97B8-8555-1320650B8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715799B-C80F-6702-51F9-601AD7FDE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8FEE31-E35E-3322-F9FC-EE7266F66C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E4017E-2FB5-2725-D55B-A9C8F8244E9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Reunião – ?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9EB5E6-CD70-2E66-69F6-6B8A99D28FF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5EDB74-1E17-9AB7-61DB-7DE3D18D1B0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850322F-BBCA-2C29-B97F-D576217350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BF6202-1CB8-0FB2-E8D1-8089C378D5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81839237-DFC8-4E02-D5B6-729C2ACEE85B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CBCFB7F-8C34-2392-0264-5C40BEFE20CB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7C770EC-A400-DDCA-120F-7EAD19156883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7229D543-311F-C4D7-24BB-207C1F47A30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Mont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08B2C78-A0D7-766A-E96D-8050B99AF58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876B603F-9DF7-56F6-15AA-700073395BF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38A09CEF-E40E-4828-6F7D-05AC1B031F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5A078E-7206-2C42-7498-D3D1CA08353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1292460-6E8D-828F-B0C2-0E2D460C5763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9289F5F-B1F0-E5EB-35C3-4D39114C1F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E674D103-C54D-D450-6164-3F23CF0B867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44770ADB-957A-1D1F-F590-285061A3485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28FEBCDA-8BF3-30A8-8C22-3A49801861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47DCDB2-95D3-3F05-2035-CA626F6A4A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9A5A1612-9ED0-A7B0-25DA-3BF487123098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E01FB407-F185-89BB-F348-C5B07D874DD1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6D91FB4-A02B-0A44-21A0-3123AF71C47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85A1DF2-B748-8DFB-A47B-F2735F7B2E06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Upgrade DEV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44D5055-8298-C85F-9B17-C8D84FE80105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21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A4D31653-F4FB-5718-5D6A-AAA87FBFB70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17/06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Material – 1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–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16.1  TBD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1092AED3-A89F-AABD-CC5B-F71F51C33D5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8043E791-149A-EB9C-A360-6C876473EB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CB0F23C4-8AB2-73E9-617C-E68C1C8D73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FB030E01-4500-B262-4304-DB503353DB3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8168387-7B8B-38AA-8CA4-FC046202A87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C21A5719-4924-6BB3-DAA1-AD3F02F26F7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A788187-33F4-7679-5830-9D2F7353911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0CBE556-8EF0-110D-EBA6-A4CA953912D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9D6843E-406C-730B-5807-0ECCCA05DE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2DFA26F-FA3E-F95B-8798-ABBABC9501F3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D129A4EE-8EA1-2174-7897-E5D7468F16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0388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60FD8CE-9594-8693-3CDD-7E5730C31C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4998B75-F2B9-970C-125F-88B1725DB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DE3168-E06F-EAB9-11D3-B63026B7D6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809DDF-AC0B-E220-9213-89F5931E8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2B72EC-022F-F07B-A5CA-A46E98F90C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0B0E92-AD0F-3240-9AEB-B46555BA2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34041D-0EE9-2E08-37B1-449B15E208B9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 16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C195A0-DAAF-9FB2-7941-3087DB52F0A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3240CD6-2B10-C098-2A7F-75BB361D301F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r>
              <a:rPr lang="pt-BR" sz="9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5/08/2025 (PO)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8F15688-47DD-5729-776F-2B14F5A86C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176722F5-039D-78A6-9959-FDE3DD4868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EA86893-79F4-0D95-E959-C0EB9B0B372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DA45863-176B-33D9-C286-109660868F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5CEF9E3-5534-6C6C-A062-168A1496EAD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5CAE237-E098-2204-D33A-3B4906EFF7E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D6689CC-C971-5649-EA3E-E505D86EF02D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 16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Upgrade 16.1  TBD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6B5A268-14CD-DB5E-F783-F0443CEDD95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Upgrade 16.1  TBD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528E1CF-FF39-FE07-5067-1BD83C433B0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01FCB98-1874-5824-0B48-E8CCEB32B397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26F25E97-747B-3CFA-A74B-2AB4DF6A97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A5650CA6-6C57-4C14-376B-2AAF0B80E22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C2026915-4C3B-30AE-6FE6-37AAABE6C430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93C7A8D6-1884-586F-4987-B7F6D534833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6BFA90B0-F8C6-3288-7A6D-E9D5F2804AC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69361E3A-9001-7198-8BA2-FACBE85C2E1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7EC1D4F8-D415-2AF1-C6D8-6692A545FCCD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94D65C90-3BC8-E9E4-F138-F9F3200E46A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C870387-5F37-CD20-3C0A-5BEF76CBDEB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C4AD673-F80A-D06D-8672-EAC7A8C112E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614C06A-033B-0E28-78BA-25C0F6EFB207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5185382-1CF7-8015-29AA-6C05968A191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2EB8DF9-D424-A7ED-1716-9AE108FEA23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AC12A0E-0ACC-DBF9-0812-45C12978F0A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B98F8CE-2FAB-3E1B-A695-1FA5EED70C23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B2787B90-150D-01C7-8659-145EA969A1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7782A22D-A24A-0FF7-087F-29604140DF0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BA23FC64-454D-50ED-95A3-80B6566AC35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CF9E76DF-7D04-91C1-478D-36AFB426BB5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05DE9925-653D-3245-3DF2-38EFC71569C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A457287F-4463-7DB0-E47D-4D10191DFC9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E5ABA1DC-805F-89E2-C28A-65EBA14B989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F9D8A3A1-3499-FA18-5A0D-9BE01564DE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845113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9F5593-04C0-FD90-67B9-4314ED81A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23CA803-49C9-7176-ADB1-6351697AB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DD14E1-019F-9ADB-44D0-586B85A58F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A418BE-1E1A-2C1B-1100-A3DC5B140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E44BDB-DFFD-84B3-EF18-E7C7E56E6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E793AB-54BC-7C73-C32F-C2F3A58E6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62985D-E8A5-272E-A7D2-DB062DFED794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1F81E4-9E97-014E-E5E3-3A19CEFB5E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C88DAF-9EA1-4D27-9DE8-01AC0E713E71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CAD174-7011-2078-888A-719156E29271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EAC7F3A-E877-C292-7259-38FC3BD6BB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15515C9-A923-2A53-8477-B4F700B30B39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505C89-5BA8-EA88-9ACB-7B582283C72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DF0EC68-8AA2-11E8-4593-5684D337EAB5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057D09E-456F-F90C-3B29-739BECA40691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8F575C0E-CED2-7A2A-7B88-04E95FAE909F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B7B48BD7-8C49-A91F-37BE-661D3378BA05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641B8D4-D799-FC50-9E70-26B4CB361D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716DCE07-3401-36FF-B4EE-5117203CEE1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B9B7CA65-B713-4D9F-1CCA-DAF4EA1AA0A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48834FE-3EB7-00F4-43EA-7A410DF2F79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5CA27B49-006F-CCCD-1871-E2784C7035A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3F106C80-2C7A-7C6B-A244-93870F60262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3018C528-252E-E160-DF32-B81A8D3431C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9501EBE-AA1B-B5E1-C2A3-EAA5C05B944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844D11A7-00CB-B589-8414-BBBE4313250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7BCB2C51-A88E-FBA1-4E28-FD6D1173A33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2CBFE87E-5FAB-212B-0373-7716D3F572E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232A667-E19D-F672-84FD-611DF0343022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A989D99-5904-8C2C-7F42-B8BB456FE6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3742925B-5E64-CE57-70D5-6C20A7EEB91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BD1ADDD-AB1A-3B83-D66C-BEB84E42A0C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E78D5882-E039-8EB7-DECD-B8F087CADB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33AE82A3-DF4A-2F55-162B-5D013E7DE97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259249-3FE2-6ABD-04A3-9046DA993BE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12BA12FA-AE4A-8C9F-F4AE-9F08324810E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DD27C84A-2F99-163F-29F8-2E7D04E7B2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51249A74-A180-AC9B-171D-1DCE04DA4A3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DD43BDF-6AD0-5399-C9AF-0BBB32E737F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294F512F-44D6-2478-677B-827840F6AC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FB80AE3-8627-DB62-4890-5CD7AD9D010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A15D8CA-F821-BA5F-0FC5-2E0F9EE988FF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7E58EA3-D56A-F7A6-C628-9E0EDA74644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18172668-9698-80F8-A6CF-EFDCFD4D12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592918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DE3845-DBC7-2BC0-CA9E-0483334087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DB8C1C8E-1611-C62F-6477-A6652F1337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2E6957-44A4-9290-38A7-E34963EEBF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6271B9-E207-B6B0-CEC8-BCC44D8467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14A294-B2EF-02ED-A80D-1808DBFC59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A61408-34CB-A3B4-5666-9E34C9E59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5A6BF1B-5561-8791-5479-F76D8E484DE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F65342-C511-7D7C-D939-924C411361B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BCF68D6-1E13-16AE-4669-BC590EB9C23C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5/08/2025 (PO)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42BABB4-70E2-6EE8-13A2-9C7DBAD1FF5C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B6E962-7837-4BB0-26E7-EE3AA20B0D0C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65AC7FA-F0C8-AB54-F3F1-34023B07421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4A652D3F-4310-86FC-3CB5-55C15DFF36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A14A5F3-1445-0025-2494-C968B5C3285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A46A44A-B9A7-DE65-1287-CC0F5BBE3A3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B6B450C-A42B-4148-1465-D421916A2A2A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482327-75A8-92AB-6344-AB62D6A3F65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D82B7A9-65A0-DC3C-2284-96E2381B9831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72221CC-86B7-B187-3DE0-6EE1620D3FF0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148E47A-ECE8-A2EA-D04B-BD002968280B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B952B14-4F55-5964-76F3-BEB204715EE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5D4A7B8C-D1E4-0607-D4D7-CE34257920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D58E103-7E76-CC45-6FD8-C015601B2AC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CB1E9E78-3E66-0A44-E7D0-99EEDE8E117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0F9CC155-D98B-5E02-7317-43EA16CD6B8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F8CAB7B-9510-03DA-58D6-27801BD8BA5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CB739F01-AB81-DFE8-2E5E-0B2F33B9AAB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5D87E90-6BAF-67F4-0424-76F42CC41F7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071D03-B58B-2050-1C5D-D91F6BC3AF2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369F56F-4750-0472-1FF9-8952838A3C2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103AEFD-138C-B57E-8057-C21A69EBE8B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6979F4-A11F-7641-1646-0976ADAAEF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07DE29D-A949-082A-CFBA-4920A55E6FA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ADE3D72-FE72-1F94-CDE7-E38F8B4F02CD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A9F5F7-74AB-C8F6-F7E2-62FD5262C926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FD786B4-A2B5-199F-B436-361575C35EE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9CDF91D9-C4A9-C664-3581-47854F30B4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CA1B0CD1-3708-A5C1-9609-1C58791AF431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7F648610-0A35-657F-1405-26E81F8F328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FB615FB4-A5C8-D6B3-B3CE-9E3192366B6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FD068B9A-8122-7718-B5AE-D42331F00F1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46A376FF-6711-2C1C-179D-C897C7DA810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F832768D-FE31-971F-2372-CBB4908EA3C1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EE2DDE3B-2306-94C2-D694-013CF8EB142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67793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334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Paks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1760ADB-31B2-CEEE-AFF7-899FB82443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39F01E6-1A2E-6F2A-CE39-C728E2B9A7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6182DC-7470-15A9-59E1-EE615DD7E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DC2CA9-30E6-DD2E-B228-425DF95B1F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8CC2FC-EB3D-F255-B119-95F32B19DC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7CF0D0-36FC-548C-792C-BE8577B2E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26A3D98-2777-26D4-8051-C5520A52387D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B3E57F-9E28-F6D5-E8A8-6808B8107D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64E4895-6EC3-B658-BE73-CEDC3F0FCA20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4C903B-C9E7-EBCB-562E-7929594CDB5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CF7DB5E-8652-2276-4F76-C4F79566E19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739E7B6-899B-E911-7A2B-12EA77F4F608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10F789-7566-7558-B358-2B91730C2D87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4124AF-FBD4-9951-9A8F-0872FD4B94D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9D61ED8F-87BA-8133-AB13-EF9B5308770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260CB04-7B34-3B67-C703-D07B81742FB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176F5F8-A78D-C308-CFF6-21152703F2E0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3EE0A92-9447-F68E-F1AC-F65FDA7B54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A679B07-272D-1B4E-955D-2670B5974F4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8E76A83-59CA-5076-DB11-D4939EADB2D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A716F47D-1446-B1FB-5CFE-2BABCC4A37B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A41FD878-EEE5-33E9-3661-CB754684759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CD8F4414-1FA1-6831-5BF3-39F3ABABE73D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E3B1FA1E-F365-53D3-60FA-98DEB672D59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E3731DE-F2F6-1435-EDBB-0470FB931A8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80FD46B-F993-9463-B0B1-329A70C68E1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9FACF6A-EE39-C659-B9B4-8E0FF3EA3440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55CDA0F-6D8B-CA41-003F-123579E5066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69CFBBF-293C-BE50-0DFD-05E69491B1FD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AC9A9EB1-C2BA-6E90-2B14-082B24B7B3B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F807E0E-3292-7D4E-C9CA-24793189514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4B820A4-405E-6DD7-E5F2-1F79AF5770AB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B649489-55DA-EB26-88A2-BBBBE8D858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A5D8E7D9-A1F9-3708-EE96-EA1DB208317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E9D0EC-D4AA-03F0-B422-85364FCD7DA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EBADCE93-4DA7-7D42-4457-D88BD4F2C14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EBC234A2-9260-FF6B-7BC8-0F5D77B9E66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6053CC38-877D-A4B0-8892-511CE67804C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B0CA75D-239B-CCF2-97D6-3B7F7E46BC2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DE5E8C50-3AD6-4E53-078E-5749FE68A95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BCD64E1A-AF3F-F8B8-9032-C6F745B9FD8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4D32BB70-E526-C2D8-F717-A71C7BFDD2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92099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E7A7CD7-3C8D-135F-CF70-BDD0862A7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DA3C7EA-04F6-C4D4-82D7-8EAF62856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89A4970-5745-21D3-F271-27DD7E44AB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FE2A9E-217D-135D-AFBA-7026D43BF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698E07-842C-C87E-BBC8-F60E16F5B5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7BE9DF-D30E-E6FA-3DFE-4E4C3333E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C320DF1-CEEC-6597-903D-66F6996CC06B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9BB887-0447-02C8-D02F-5BFE6CE63AF0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B9DD5C0-FD83-6E13-DA3F-9EB5D1215197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9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5/08/2025 (PO)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C12F88F-FD9F-051D-8CC0-BA75A16CE2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60883B20-170A-3A79-BDC8-721C5943DF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7508E8A-B6F8-780C-6588-A11CDC7C5033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E5CFB6A-5C45-6A14-9024-A67ED1075F92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B6A7FEF-9D20-896E-F8B6-5D42643B68C6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22BC20-F511-4CEF-44A3-E393F96BE6A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68E3393-648F-77F6-8944-5C57FAA2916A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36BCE06-A099-3332-3A4E-04313840D705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6B09366-31F1-5E49-A0C1-4761AE67D9D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D96706D-6B5B-67D6-6984-0CF4E26EFBC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BC9366B9-A6B7-F9CC-C2A7-CD531F3B5D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CDD89241-EDBA-038B-EBAF-6AE24FC9839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AE693164-AB41-47A9-9AEC-834985778B7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C5673D4D-856F-9101-46BE-6A2308B1C75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A93147F0-B6E6-73BE-60B2-B45EA0774E8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3C903FED-2A51-08A5-3259-A22EE8055E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D11439B6-9503-3D97-6C27-AED0025EB2C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342D7B49-94AE-89E4-A08B-E431C2A21E4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0B98171-897E-5F4D-A3A6-77163065197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4F82376-696C-45DD-62DA-5573AD16FCE5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3B23EC7-4462-F003-E2CB-05C5A934F2C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F608870-C126-3D8A-F972-E1E49F44A870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7039152-0441-77F8-0370-B53617767D88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95C9DC6-2FBB-F19E-5A44-9A2FF5E4A17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4F2517E-EC99-815E-F5D6-584EB8382A1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77C693DA-3E66-40E9-756B-B4DD5E4DAD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2FF3D19F-7CE9-548B-7D46-5F816D523A6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47545403-9120-06C2-0979-7A7898F6CDB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F11F6EA7-8C5A-6F50-74D3-BB4FDA47756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BBC804A9-7266-8E16-EA24-075AB5A1901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2F26743A-6CDC-05E2-78DF-FFD3C4676BB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634930C-EDEE-A8B5-6920-BF4F4F78B3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783179D-43F3-9C03-0649-158B8AB4B714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48881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B4A556D-C4C4-CACE-18A0-8267CA61CE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820637-5E19-8750-F6A3-0B8F8E7D06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DD82EE-D19E-9352-EB2E-B7EB0FE26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E3BF2B-60AE-0E7F-A991-F94DAC83D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8F82AA-D0A8-6EE6-E14B-7DC111A89A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54169C-B2C3-C120-8D38-ADD807138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39FFC7-C8FE-B04C-1F7F-6B700F83E17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A5FC8D-540D-72F5-FDCC-F430088E47F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54E3DC3-C85B-106D-EFEC-18DE52F173C9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0CAF1FB-7777-2EE2-3476-02238ABBD63D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1C60011-B05F-78FD-8FD3-D766F29A69F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A3F0553-87E7-2A13-7CA9-3D4CCE8B913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CA67377-FF1B-FD27-A108-13E225FD336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C03DBE-4C2C-9097-A8A0-31FEEF4A527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D053FD7-B453-B5BE-B961-62E50D25F28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Discover a Project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spera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– 27/02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3EA856FA-4CB2-2C61-F3C5-EE038ECA200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ustomer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cided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Sterling – 28/03</a:t>
              </a:r>
              <a:endParaRPr lang="en-US" sz="10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9FD396F-5AAF-3852-7D8A-3E9DA3EFF9D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F737671-A4E4-099F-3843-D1E6050B0F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EADB47-C759-CE5D-693B-7190AC6FE0E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99F7A39-6770-03F0-212B-169A491F357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9AF6EF8E-934D-4A05-F23F-D686942695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98E1EC31-1D19-6D36-104A-ACCA99FC66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11E481E-0EEF-B54B-D4A8-A9F3F17E85F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7B0E9A9C-9717-ABBF-7F01-920ED2C51A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A002A2B5-0C2D-6592-EBBC-36DB3079DA5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A9B2857C-914B-A100-58FB-C04A09B3D3E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D3F39555-A747-61BE-E142-5266BD48BD6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D7A9DD9-43B8-ABBE-AECD-DBE0722D921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E955DE37-6ECC-18A5-EA85-29F422D1AAC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F80D2D9E-92E7-26D4-952C-8B11A71498D3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BAF7EEA7-947E-1479-43E9-2CDA17312C1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5B9FCA6-3A0D-8906-20B7-D10C3FAEA3DE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FA0607AB-8458-9BF9-CC66-2BB755E41A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4A02BDB1-B838-9519-EA26-054D6F9F9F5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BB065F5-3EAE-0DB0-30AA-85D88D5F84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C4330F4A-9FEB-A20A-4C3A-EAD2A7FAC8B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F424DCA-51B1-18CD-221E-666ED75C77D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41C61B72-F1C7-C5EF-DF49-43E21B246D8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2F96ED2F-D6DA-C8F1-8241-D9DB8985E8C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C16EE2D-4F56-C2DE-EBE5-B27E0715F64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05552A7-E220-2A6B-955A-25788FBAB8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7D793E5-A78F-CC92-ADBD-B5E4C40DEC29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492AF03-BD2E-726E-FDB9-396771EBB71E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4DF7B050-B255-12A4-74DA-B638D26892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62864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899321-7A17-E1C0-FF0B-F6FC4BC184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F27B2B2C-12C5-AFEC-AE10-D7583BB03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67AE9D-61A2-6D0D-6DFC-A5E2CDF584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C702B8-252D-160A-2B2F-ADD9C8B7EB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9C93C8-CE0A-1742-B390-C1DCA883F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295A54-6A7B-7301-9226-59E619CDE0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B2F2C4-8388-EE3F-5EAC-EEEE437649D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600DE0-9DE7-3D5D-2C73-A7CABD9E6D8F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B4211E-7542-804F-6A2C-88ECB3514525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05/08/2025 (PO)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1FC835A-B9DD-CF6E-0A90-FD820F3F4272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5241DC-037E-7648-6D83-2018495B8A10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030C93B-F93C-3714-4B15-642ACD3F5BF8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AB57837D-C0E9-5907-7792-E10AD47CC2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13518FB-58DC-DE04-66A6-815EE6770DC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3FA4D2D-9E84-4ABE-45D7-35AC482D3E5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82969C3-0ADF-C9AE-2A0C-FC822F8FC96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FA3FB15-28B4-8910-020E-0A98BEE75CA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4F0C2D4-2554-5F23-AE07-3D808FA29F8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364E25F-2261-38F0-5F3F-DDEA618DE78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7E2AD1E-3EA2-2C4D-0F2E-ED1DA84A26F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445259A-B4CE-3FA3-FD4B-7B8E9FA8219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22C72E55-8D56-E0F0-C5B7-B59C5642E4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EAA1A69-3339-1F47-42F6-B27242F3981C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D2BAC99-C559-0CD8-CF2B-B270C443F06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73C503D-284E-944C-F2D3-201A0D794BA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5356C359-FE76-786F-E418-5C91A778E82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A3A3EA5-F77F-CA5C-E298-EC20B68131D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9B50C010-86AA-7C92-ACC7-38B6E2413A5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14EA6804-B707-67E0-0FAA-5ADDCB2ABDA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52D7AD2-1DF1-B4CC-E25C-CD81DB680F3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B1C74A2-CABE-F1FF-E5EB-AC9E67423B5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FC13B34-D493-FEDE-1CBC-51A1F1080B2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036A5E8-1BB6-C8D7-023D-DFA8E3BE8E3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2231027-C0FB-2EFA-A5D3-FB56D3B35C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D54345F-6C7E-DBFB-5D97-FBDEF2AC48B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6A9E79E-0772-FF63-F060-3BFEF8984E4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675DDA85-540C-4B2B-43AB-9A35F992B3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445D43A-FFA9-CD2A-A03E-3A555C2F996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AE80ACB1-2151-A07C-669D-8A5D07768CC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77203F1-7F79-63B2-8B3E-E51AD11C3A7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D1C3C31-530D-3651-D21C-BE0C85F32E53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60DCC049-7794-2B45-14D6-908AC74C3C9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2EF4B4D7-ED66-FD46-C9AE-5E0FC529996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6BC1235-09DD-44D8-CDA3-632F15F1C47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47699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220702A-A69F-19CD-3630-64E3EE14E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841BEB4-8F80-F873-E061-BFB1F39108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52D1FF-9393-5814-C95F-20ABBA533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0FFC38-F9E0-E9D2-549A-3DDA216C7E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D47B31-F953-69A1-973D-AD893710D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5520F8-0ADD-792E-3266-66F4614E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43FC53-028C-0440-C2F4-3DF988BCBA9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8483D9F-5DE7-9AA5-16E0-98BFF60B78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92286"/>
              </p:ext>
            </p:extLst>
          </p:nvPr>
        </p:nvGraphicFramePr>
        <p:xfrm>
          <a:off x="274150" y="1171322"/>
          <a:ext cx="11578320" cy="857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I Connec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71223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93B496F-4CE3-AA8F-3D28-8EF657B4BF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748022"/>
              </p:ext>
            </p:extLst>
          </p:nvPr>
        </p:nvGraphicFramePr>
        <p:xfrm>
          <a:off x="274150" y="2317566"/>
          <a:ext cx="11578320" cy="29832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28296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6265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3470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90078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299872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67600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53393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58794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466768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9343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79224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8516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90905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F4C9011-82F8-1E0E-7A1A-7A7A4B973C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480426"/>
              </p:ext>
            </p:extLst>
          </p:nvPr>
        </p:nvGraphicFramePr>
        <p:xfrm>
          <a:off x="274150" y="5534196"/>
          <a:ext cx="11578320" cy="10344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693299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708142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289392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08692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9EC829-9CCB-C741-9A19-602A59BC04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C0FC15-3283-AADC-9C6C-D31CC10EDD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75FDEF-7F07-A6CE-3999-EB04396C67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7CFF0A-3660-F675-53DA-C4E39FFC2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FCCC6C-1778-14D9-6F66-06BB0A684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FBBCAF-4EBA-E452-E3CE-2692B4538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C1429E-F674-4238-6F2C-FE4928F139D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33330C1-C2B4-1A6E-0083-47EDE508C2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479411"/>
              </p:ext>
            </p:extLst>
          </p:nvPr>
        </p:nvGraphicFramePr>
        <p:xfrm>
          <a:off x="274150" y="3046988"/>
          <a:ext cx="11578320" cy="28060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51611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3801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226766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366092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819574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1620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9547857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1160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6514240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1153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90621915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6023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28953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69840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741723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755532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777612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969738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waiting your feedback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184429A-69CE-ECB0-7867-7710A7A39E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9480362"/>
              </p:ext>
            </p:extLst>
          </p:nvPr>
        </p:nvGraphicFramePr>
        <p:xfrm>
          <a:off x="274150" y="1182112"/>
          <a:ext cx="11578320" cy="1743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31060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31293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066153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0664008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04377613</a:t>
                      </a:r>
                      <a:endParaRPr lang="en-US" sz="1100" b="0" i="0" u="sng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0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TS0038828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6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7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9505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587CC1-91AF-DBC7-9CFB-679B3B59E5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9D05238F-E87D-CBD9-EFA6-D65323035B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6790985-1438-E95A-708F-B5032F08C3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D39883-94D3-02F6-D3EC-3AC471245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17DFDA0-F95B-EA3F-9BC2-F771745D12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E7F694-8034-F44F-0D85-56E29E493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2DDE1-C520-5181-2937-74D5FEB5747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41A2B47-B64D-E874-D712-340B60C70B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735541"/>
              </p:ext>
            </p:extLst>
          </p:nvPr>
        </p:nvGraphicFramePr>
        <p:xfrm>
          <a:off x="274150" y="1183258"/>
          <a:ext cx="11578320" cy="9006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46560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562129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495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9848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620443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4797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9846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95486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49985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776768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420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286494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38244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556770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1492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3700161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61719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4070241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59848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39448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598466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750552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598477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249858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59846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89914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159846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883752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TS01598480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015471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2"/>
                        </a:rPr>
                        <a:t>TS015984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8770740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3"/>
                        </a:rPr>
                        <a:t>TS01598469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528328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4"/>
                        </a:rPr>
                        <a:t>TS0159847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3907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5"/>
                        </a:rPr>
                        <a:t>TS0160058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433846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6"/>
                        </a:rPr>
                        <a:t>TS01271207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466405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7"/>
                        </a:rPr>
                        <a:t>TS0159261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44458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8"/>
                        </a:rPr>
                        <a:t>TS01449734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09937563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9"/>
                        </a:rPr>
                        <a:t>TS01598464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7892952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0"/>
                        </a:rPr>
                        <a:t>TS0155359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827939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1"/>
                        </a:rPr>
                        <a:t>TS0155360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81274697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2"/>
                        </a:rPr>
                        <a:t>TS01451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549257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3"/>
                        </a:rPr>
                        <a:t>TS016204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977551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4"/>
                        </a:rPr>
                        <a:t>TS01618018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6195627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5"/>
                        </a:rPr>
                        <a:t>TS0169395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847614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6"/>
                        </a:rPr>
                        <a:t>TS017038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50909444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7"/>
                        </a:rPr>
                        <a:t>TS0174195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590256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8"/>
                        </a:rPr>
                        <a:t>TS0178891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57765613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9"/>
                        </a:rPr>
                        <a:t>TS0183875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0"/>
                        </a:rPr>
                        <a:t>TS0184002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1"/>
                        </a:rPr>
                        <a:t>TS01840103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2"/>
                        </a:rPr>
                        <a:t>TS01847431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3"/>
                        </a:rPr>
                        <a:t>TS0184618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4"/>
                        </a:rPr>
                        <a:t>TS01860011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5"/>
                        </a:rPr>
                        <a:t>TS01860631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6"/>
                        </a:rPr>
                        <a:t>TS01860140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7"/>
                        </a:rPr>
                        <a:t>TS018613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8"/>
                        </a:rPr>
                        <a:t>TS0189727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9"/>
                        </a:rPr>
                        <a:t>TS01902786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0"/>
                        </a:rPr>
                        <a:t>TS01924349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7264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" name="Rectangle 3">
            <a:extLst>
              <a:ext uri="{FF2B5EF4-FFF2-40B4-BE49-F238E27FC236}">
                <a16:creationId xmlns:a16="http://schemas.microsoft.com/office/drawing/2014/main" id="{58F9A95D-3CB8-5794-DD3C-846A25475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44D1711-EF6C-1473-EA7D-FA7C74D501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7DADFF-2A08-7125-5BA0-67277451B3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D3929D-FA18-86FA-8BDE-3BE6ECF47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683391-0009-2353-775A-EED32DFBB3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FE60577F-A183-C54B-51CC-7E25CFD538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21161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5BAE6D-667D-CAEA-0853-1CA05D5766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2" y="21160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6613C4-6B4C-CCBC-FD65-223DE68228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" y="21161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320769-8304-FD65-F71C-247AB873F2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8" y="21160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2529CA-27D8-A01E-474C-4C665666F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49" y="21160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67B528C-5393-EF87-59CC-CD4DE6878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8" y="315699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pt-BR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valiação do CSM &amp; Grupos de discussõ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valuation &amp; Group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2F6729D-DE7E-B6B6-188E-6ADD9493DDA9}"/>
              </a:ext>
            </a:extLst>
          </p:cNvPr>
          <p:cNvGrpSpPr/>
          <p:nvPr/>
        </p:nvGrpSpPr>
        <p:grpSpPr>
          <a:xfrm>
            <a:off x="1132339" y="2736610"/>
            <a:ext cx="3564355" cy="3774741"/>
            <a:chOff x="654361" y="2392188"/>
            <a:chExt cx="3564355" cy="377474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EC3DF01-23F5-C342-5B9E-7B46743CCC61}"/>
                </a:ext>
              </a:extLst>
            </p:cNvPr>
            <p:cNvSpPr>
              <a:spLocks/>
            </p:cNvSpPr>
            <p:nvPr/>
          </p:nvSpPr>
          <p:spPr>
            <a:xfrm>
              <a:off x="654361" y="2392188"/>
              <a:ext cx="3564355" cy="37747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r>
                <a:rPr lang="pt-BR" dirty="0">
                  <a:solidFill>
                    <a:schemeClr val="tx1"/>
                  </a:solidFill>
                  <a:hlinkClick r:id="rId2"/>
                </a:rPr>
                <a:t>https://ibm.biz/avaliacao-csm</a:t>
              </a:r>
              <a:r>
                <a:rPr lang="pt-BR" dirty="0">
                  <a:solidFill>
                    <a:schemeClr val="tx1"/>
                  </a:solidFill>
                </a:rPr>
                <a:t>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00B1B7C-5B4B-16A2-0631-6DDAF48287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6544" y="3142467"/>
              <a:ext cx="2470910" cy="2481653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7C781B2-0B2C-A226-F7B6-691A5B54AE7D}"/>
              </a:ext>
            </a:extLst>
          </p:cNvPr>
          <p:cNvGrpSpPr/>
          <p:nvPr/>
        </p:nvGrpSpPr>
        <p:grpSpPr>
          <a:xfrm>
            <a:off x="5485136" y="2049687"/>
            <a:ext cx="5781821" cy="3220279"/>
            <a:chOff x="4210106" y="2196804"/>
            <a:chExt cx="7521102" cy="409076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D31BAEF-FDC0-481D-818F-0A28020065E0}"/>
                </a:ext>
              </a:extLst>
            </p:cNvPr>
            <p:cNvSpPr>
              <a:spLocks/>
            </p:cNvSpPr>
            <p:nvPr/>
          </p:nvSpPr>
          <p:spPr>
            <a:xfrm>
              <a:off x="4210106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IBM </a:t>
              </a:r>
              <a:r>
                <a:rPr lang="pt-BR" sz="1600" dirty="0" err="1">
                  <a:solidFill>
                    <a:schemeClr val="tx1"/>
                  </a:solidFill>
                </a:rPr>
                <a:t>User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r>
                <a:rPr lang="pt-BR" sz="1600" dirty="0" err="1">
                  <a:solidFill>
                    <a:schemeClr val="tx1"/>
                  </a:solidFill>
                </a:rPr>
                <a:t>Group</a:t>
              </a:r>
              <a:r>
                <a:rPr lang="pt-BR" sz="1600" dirty="0">
                  <a:solidFill>
                    <a:schemeClr val="tx1"/>
                  </a:solidFill>
                </a:rPr>
                <a:t> Community</a:t>
              </a:r>
            </a:p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4"/>
                </a:rPr>
                <a:t>https://ibm.biz/ibm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EC941BE-4A5E-B76B-D0B0-7E9FCD5B7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65143" y="2919641"/>
              <a:ext cx="2648151" cy="2693611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7FB0466-3445-669D-23B6-C93E70010F3F}"/>
                </a:ext>
              </a:extLst>
            </p:cNvPr>
            <p:cNvSpPr>
              <a:spLocks/>
            </p:cNvSpPr>
            <p:nvPr/>
          </p:nvSpPr>
          <p:spPr>
            <a:xfrm>
              <a:off x="7970657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LinkedIn</a:t>
              </a: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6"/>
                </a:rPr>
                <a:t>https://ibm.biz/linkedin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467B8E5-3734-3D5D-A9E4-DBB185630A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01648" y="2934689"/>
              <a:ext cx="2716344" cy="2670881"/>
            </a:xfrm>
            <a:prstGeom prst="rect">
              <a:avLst/>
            </a:prstGeom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D080F8CD-30B7-2FDD-A0F4-0CA8F3E1E7B5}"/>
              </a:ext>
            </a:extLst>
          </p:cNvPr>
          <p:cNvSpPr/>
          <p:nvPr/>
        </p:nvSpPr>
        <p:spPr>
          <a:xfrm>
            <a:off x="5484545" y="5269966"/>
            <a:ext cx="5783004" cy="1241385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ticipe da nossa comunidade                                       a</a:t>
            </a:r>
            <a:endParaRPr lang="en-US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D9FEB55-33A2-EA32-796A-543479A892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t="27196" r="25457" b="25384"/>
          <a:stretch>
            <a:fillRect/>
          </a:stretch>
        </p:blipFill>
        <p:spPr>
          <a:xfrm>
            <a:off x="8800633" y="5443174"/>
            <a:ext cx="2128898" cy="781692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190D860-D7C6-0049-D28B-BFF2D34DF22C}"/>
              </a:ext>
            </a:extLst>
          </p:cNvPr>
          <p:cNvSpPr/>
          <p:nvPr/>
        </p:nvSpPr>
        <p:spPr>
          <a:xfrm>
            <a:off x="1132339" y="2049687"/>
            <a:ext cx="3564355" cy="686923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ode me avaliar?</a:t>
            </a:r>
            <a:endParaRPr lang="en-US" dirty="0"/>
          </a:p>
        </p:txBody>
      </p:sp>
      <p:pic>
        <p:nvPicPr>
          <p:cNvPr id="26" name="logo2-04.png" descr="logo2-04.png">
            <a:extLst>
              <a:ext uri="{FF2B5EF4-FFF2-40B4-BE49-F238E27FC236}">
                <a16:creationId xmlns:a16="http://schemas.microsoft.com/office/drawing/2014/main" id="{DEB8414E-656E-E224-D789-F3AD23B96B0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7990" y="2898162"/>
            <a:ext cx="2404477" cy="7112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026789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58F569B-4ACB-CDF5-4C32-374EFAF80B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81AF4B-938D-5DB0-75B4-6BC3813FF5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A3C8CF-CBEA-32ED-76FE-540D165AB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0D2380-C0D4-BE3C-D341-D57B3A690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25BE64-9B8D-BBA8-A8C7-8382E8046D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0AD1B9E-F0AD-B9DF-E87D-B972B032D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31456E-669F-3A8A-56C0-F421F2FC4A1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999366-2C6D-1B02-5C4D-8451D7F040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243CB66-0A13-8C4D-2C1C-5B7F670EC755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25A94C-D863-6480-0388-C0A018A08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9FAFCE3-B1B6-B5CC-F244-CD4C9E902BBD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E9BEAC-789E-42E3-67E1-A11EE026473C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2882499-E66E-6832-6937-D83FE5D66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0A6066D-57F5-DE49-5C5B-B98C776539BD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4E43F22-2ECD-D38C-3C84-6A2157939693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552C727-8F28-011E-AAB7-5C13B5170659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2601415B-0145-FB3E-B7F3-ADA1C55E4D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030E0F-0544-01EE-74E7-2C8C4C42197A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B20763B-1706-54C2-85ED-225A61166B9E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048F111-BD3B-A726-0FE3-AA542F9868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571CB45-C52C-D7E7-4572-DE2B53D2CAD3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EED098B2-B91E-7DBE-D887-0CD2B378F9DA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681B30FF-E2B3-0D01-67F3-BF244E79BF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906081A9-3B6D-8367-710E-0BDD71E96548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CB20D00-C3D2-DC40-D299-25A2A7612301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319D203F-3F4F-A48C-1001-E4B6F4885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E584F75-23A9-8AA4-3B9A-6706EA77304E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46B009C0-E1C1-0F16-C0F1-972B49F909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1BABB58E-F498-1F0B-D1A7-FB6E4693214E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379CB209-9618-673D-86B9-77EFBF77C98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76942FE-3585-222E-6CE2-491A2E8EAE4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057A6B9-A7C9-C851-F4B6-583F1043464F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DD75B2-FD89-518D-1D01-C4B41D44B3AD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678EBA-6303-70F6-70C7-F9608E6D1618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30E1488-02C9-C51B-EEA0-0C824ED8446F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86DE9315-30E5-14F0-E1DD-F3711665E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C3E9E9F-C90D-2CC5-34B9-3E247BD2E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4CEF912D-C34F-5B6E-0907-D4CB9C83A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5AC86F5-C9D3-B37A-FBAC-12716FC12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D0760852-15EF-2912-181A-99C495FD3F5A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100ED8F-93EB-ADC2-97DE-7595AA4BE465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5B86E5FC-CF9C-6213-09ED-203B739FC71E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5AE116D-2945-B5CF-2AE7-A5F402E27D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99B4F1-0E52-EFD2-935E-2A9C9FCCCD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77C67E-9EF9-7454-1B08-1AA4BC330D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BCE7AF-8A20-BAF1-A406-5F9E1BD4C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0E7406-BB86-FB75-A43D-F0847DDE5B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logo2-04.png" descr="logo2-04.png">
            <a:extLst>
              <a:ext uri="{FF2B5EF4-FFF2-40B4-BE49-F238E27FC236}">
                <a16:creationId xmlns:a16="http://schemas.microsoft.com/office/drawing/2014/main" id="{2F2A8E69-42D0-3A1C-7469-64CD03D17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C5002C4-AC8A-185A-D1CF-C8165FAF6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BD09CB-7EE3-698A-1749-51867EEE2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F1609E-DB3F-AB24-EA5D-CA5F797084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8C14B7-6527-3783-7704-9B5878710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EE464A-9886-1BEF-A4D0-5499892F0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logo2-04.png" descr="logo2-04.png">
            <a:extLst>
              <a:ext uri="{FF2B5EF4-FFF2-40B4-BE49-F238E27FC236}">
                <a16:creationId xmlns:a16="http://schemas.microsoft.com/office/drawing/2014/main" id="{F17C62B7-A7B1-BF37-FC06-7CDB52AE2E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DD8A577-52A2-5684-3A9D-F5FCD93A6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uso de licenças nos Cloud 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ak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license usag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1332770-0F95-04EC-ED50-38B19C40E64A}"/>
              </a:ext>
            </a:extLst>
          </p:cNvPr>
          <p:cNvSpPr txBox="1"/>
          <p:nvPr/>
        </p:nvSpPr>
        <p:spPr>
          <a:xfrm>
            <a:off x="104818" y="6491595"/>
            <a:ext cx="60944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hlinkClick r:id="rId3"/>
              </a:rPr>
              <a:t>https://app.ibmsalesconfigurator.com/#/</a:t>
            </a:r>
            <a:r>
              <a:rPr lang="en-US" sz="900" dirty="0"/>
              <a:t>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9EFA44-6B18-5531-ECF2-EECF103AB4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570" y="1328207"/>
            <a:ext cx="3981623" cy="470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1305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9F556689-7825-8E83-D2FF-6900951E49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FD49A7-7C7F-5823-5C8E-F4F868E169B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B8FEEC2-1DE4-2ED7-0B0D-07388127420D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64333162-7FFE-1498-1036-40A26215576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D4AC3D8-A433-C36E-30FC-3C87E61BE53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B021867-15FB-CDDD-DAC8-45E6F8D068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65587AC-AA9E-DA7C-67FC-9793D21FE089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FC130812-3308-EFCE-4937-7F2EAFF295D2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318A8D-EA16-9632-845D-AB3E79045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E591A328-5352-41DE-FD36-C9E5B935BD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A92772-F389-7508-38B2-860198AA2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1EE7FE-77CC-4A00-1C69-BCA4DAB2A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465339-2A9A-B3E3-CC82-0838FF9342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408FEA-0701-0BA5-B9CF-327FE8852F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475353-0B79-E280-5808-2790DC4FA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20C720-2A7A-A420-2308-1CD9769EDC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8DDDD64-DD4E-A73B-9935-5299127F0D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C58196EF-638F-7273-D503-EB34F8F74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2523EC5-750E-7935-AF4D-CD027105E9AA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F242D-BA0B-F55C-1F6E-019FF514BA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8848B4-9BFF-AA43-C715-BEA51A0867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638D7EC-7398-29D4-7B74-9D61859FAFB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5852559-096E-0E94-4496-47E6DFA7DC69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CAF7C5E1-17BE-1DF0-1A7F-D0DB0714F0F7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3064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36B6DA-D4E3-DF56-8049-3CF3411009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89E75CA-9A79-74F7-FBE8-E9CE6EE6C6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F9E8C1-4148-6C7F-EA4C-429C2D3D4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E1E6204-162F-2C79-977C-9B7FDC3281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119CBC-63EE-FFB0-0965-9307733DE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00BEC7-5ADD-B58F-3D84-BBC3A1CD1F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43E6B8-AE3F-BA4D-E31D-CDE5CFEA1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D2D769-BC94-EE0F-4B68-A09F4A88B1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D510614-1E83-1C80-CB3D-D9168833E6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E1AA093F-ED61-83F7-1066-E4390E2F9D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6ABC054-10AC-F06D-73CB-FB5E77CFBD07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4"/>
              </a:rPr>
              <a:t>https://www.ibm.com/support/pages/lifecycle/search/?q=ibm%20Datapower</a:t>
            </a:r>
            <a:r>
              <a:rPr lang="en-US" sz="800"/>
              <a:t> </a:t>
            </a:r>
            <a:endParaRPr lang="en-US" sz="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AC32A1-C318-6BCF-9DE7-CDEF7FFFAB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AD06917-7F6B-5E12-72A3-5D3CA17F03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9CDEBA4-F361-7E2B-5E1B-B2563885F2BF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6F0CCA2-EEE3-E6CB-ED60-AB57A684E11E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DA57FFA8-65E8-224B-7509-97047E684164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265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6B6FFB2-1D3F-A537-DA23-6720B7506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2737B3F-EA92-8DBF-507F-FF2856AEBA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B7F9D6-B2D5-849C-28FB-86EA9E566D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2FC8FC-E47E-2FE9-C858-057F60AF5E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FC6CD0-1C74-0718-3D27-7D457119CA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75D1170-75D8-2068-5A88-BB249AB341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0537DC-41A8-2BD8-B5B2-B467DE1B0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2E717D8E-1FDD-B1B8-BC80-97EA871E1E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06ED1B9-191D-0F12-1304-C6C591AE9CD6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CC4547-8E34-9767-1C0B-C3959C909A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A6F6D00-8C9A-28FA-A779-4ABFDDD01B0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295915B2-965A-873F-6070-27C31B7583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FDDEC15-74D5-22FC-FA2B-9B0D2AF3742E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AC8EC03-C957-90C1-FCA9-1892FF01326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876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CB9870-C38A-E784-C8F7-F64C8421E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568855F-08D8-778E-316A-B267C71C1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DA0EF0-D576-6AF4-390B-F536C9ED75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8476DC-D051-14BF-4C64-778FB1CB8F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E33C22-DFA3-170C-8C31-C7C9BAE824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B54E57-3B9D-876A-B6E9-D57DFE302E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38A199-58A9-9708-8FD2-8B6F8F892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3865AF47-FED3-E843-5F2F-6274653C93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1A9C1AD-6E67-83D8-FB11-CB0C8F9D93D0}"/>
              </a:ext>
            </a:extLst>
          </p:cNvPr>
          <p:cNvSpPr txBox="1"/>
          <p:nvPr/>
        </p:nvSpPr>
        <p:spPr>
          <a:xfrm>
            <a:off x="184458" y="6385290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3"/>
              </a:rPr>
              <a:t>https</a:t>
            </a:r>
            <a:r>
              <a:rPr lang="en-US" sz="800" dirty="0">
                <a:hlinkClick r:id="rId3"/>
              </a:rPr>
              <a:t>://www.ibm.com/support/pages/lifecycle/search/?q=ibm%20event%20stream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27EAB0-666F-4E3F-B419-E6E1DE23A3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0F75FE6-BCEB-FFA1-36A4-809BCEF93E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C0BA406-A127-9770-955D-3854228A95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4CBCF2B6-9946-E3F8-0348-C3051307F456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827DF-2A6E-7649-1D55-DA75BB3FF066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5367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FB64906-6651-B235-7E4F-9424A3F6E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A0722E0-F374-660E-0D4C-E986893BE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AD3803-72F3-6DBC-5806-F00535D02F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8D4E6F-7A2E-260D-A2A1-0487BD12F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ACF5899-21C7-138E-A3FE-58E10DF93F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699FDE-014D-4E07-FEBB-E999A4D96B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7DD8CF-B0B2-5B5A-0832-B610A4773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E51C8ADA-597E-3F3B-8EB1-22BE00E954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0F72D6F-29CC-C47D-80F8-0912C34D29C8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8D0D568-FEDE-6462-2D46-F637A62519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39787D7-D60A-1547-BD22-6CC3EECC90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D50F4CB-ECFF-65D7-A159-0F78654BD242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9F541D5-76E9-A484-3C90-1B764557304F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7AE9FC7-8160-0513-E849-338F605ABD6B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99146F90-36C1-38C2-C90E-8A68FC742A81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EAF3DF7-0DDB-8FC5-0F80-B9ADC6E5D58E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2550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01BE54-412D-B477-163F-A1BE2B3093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0D7E8D4-B91C-EB53-3712-D44CAF8E92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F7CB04-0484-4E42-74DF-0B0AAA3805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43CC6D-1E1B-9889-EC05-628A3D7CA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7CE429-950A-12E1-0BAD-23C2B5D62E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8874F5-1EBB-A3DF-1465-ACA52998C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4119ED-1C75-A9CA-CF76-8F708F630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746F9737-D800-0288-6997-111060CF84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E0C6E9-3259-D91B-100D-83A2AFEBA72C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23A897-9E36-9D29-B558-332715E9B1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B67A9-D48A-1D26-028B-484D092A2CB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CEC19D-21A7-F165-74DE-FAF2C96FCFAB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1FBFCEA0-2143-9D25-756A-0EC4F37944B1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8F975B3-CD1E-95AE-BB38-DD1B8F571AE9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EBF5941-3AF0-457A-6D20-37C7F8D03DE0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40DC7D9-D0FD-CF8E-6A0A-65F80C684137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600825E-A0F6-4850-2695-4BC65F411423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2969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B77BB9-4EA1-0980-A62F-D47BB478B98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05067" y="2943225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D6A40DB-D30E-F6E2-B534-981C285A1282}"/>
              </a:ext>
            </a:extLst>
          </p:cNvPr>
          <p:cNvSpPr txBox="1"/>
          <p:nvPr/>
        </p:nvSpPr>
        <p:spPr>
          <a:xfrm>
            <a:off x="8044711" y="3005296"/>
            <a:ext cx="41472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400"/>
            </a:lvl1pPr>
          </a:lstStyle>
          <a:p>
            <a:r>
              <a:rPr lang="pt-BR" sz="1200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/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B5A12EE5-1A5A-6F20-6A86-5EE906D528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B1F0E84-6711-F149-7C51-B53D5559C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E36A39F-B0BD-AD4A-B679-EF8A431F60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77E7975-3592-2564-9B7E-C2BEC91F64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BB743DD-45D7-062F-829B-F510728F00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logo2-04.png" descr="logo2-04.png">
            <a:extLst>
              <a:ext uri="{FF2B5EF4-FFF2-40B4-BE49-F238E27FC236}">
                <a16:creationId xmlns:a16="http://schemas.microsoft.com/office/drawing/2014/main" id="{7F1C22F4-AFBC-6216-CA84-60CCD3C91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10EC4FE5-9245-7E51-27E1-1331C7495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5FC800-D6C6-C410-1472-A2803D4613FD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algn="just"/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34" name="Picture 4" descr="IBM Cloud Pak for Integration | IBM CP4I">
            <a:extLst>
              <a:ext uri="{FF2B5EF4-FFF2-40B4-BE49-F238E27FC236}">
                <a16:creationId xmlns:a16="http://schemas.microsoft.com/office/drawing/2014/main" id="{8313D58C-80E0-CA7A-071C-D1EE615B30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4824FE2-37C6-C0F0-D3B0-5D88499491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8795A4B-22FB-A9B2-5268-4FAAA93D2721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6AEF30-E0E5-D36B-F300-B2710F0CBDDD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FB47B4E-91CF-C349-3295-683340919927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17F347DC-B572-863E-FAE8-27313C1CC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734DF93-4576-5853-57D6-99E0D9F61B14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6B743A3-C085-5BE3-C606-99C1196E40A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20675BB-6303-8810-61D3-5170D28AD8AE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029BFA9-AA45-4BC2-F0D9-EE2BAAFCEEB8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C3E944E-A206-19AB-D7C0-7367E17F889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8931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90707-6394-7CB6-99C4-F9EE2F7925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7CB3AEF-8230-92FE-8E29-79699B7795DB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E6F039AC-BFA1-5F39-7B60-605FB80E8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C086D8C-3F03-F76F-B93E-FCD3AB81631E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0913B3B-3508-A3D2-9C1A-2B5780063F7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F84F144-CED4-5CD4-116A-CF850A65ABB4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DCF21F4-B241-DFB0-7AE3-FC78C9818B01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572AB0C-29CC-7EEC-BEAA-EF2344C8F53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pic>
        <p:nvPicPr>
          <p:cNvPr id="11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707A267D-4F0F-CF51-D983-8E76DE625A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2" t="11455" r="27016" b="3904"/>
          <a:stretch/>
        </p:blipFill>
        <p:spPr>
          <a:xfrm>
            <a:off x="1617270" y="740460"/>
            <a:ext cx="4650658" cy="2686635"/>
          </a:xfr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79FD4CC-C0F7-398F-FEE4-36868F521488}"/>
              </a:ext>
            </a:extLst>
          </p:cNvPr>
          <p:cNvSpPr/>
          <p:nvPr/>
        </p:nvSpPr>
        <p:spPr>
          <a:xfrm>
            <a:off x="893602" y="745397"/>
            <a:ext cx="723668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765" h="5262282">
                <a:moveTo>
                  <a:pt x="7844" y="2409623"/>
                </a:moveTo>
                <a:lnTo>
                  <a:pt x="0" y="1910140"/>
                </a:lnTo>
                <a:lnTo>
                  <a:pt x="1075765" y="0"/>
                </a:lnTo>
                <a:cubicBezTo>
                  <a:pt x="1072777" y="1754094"/>
                  <a:pt x="1069788" y="3508188"/>
                  <a:pt x="1066800" y="5262282"/>
                </a:cubicBezTo>
                <a:lnTo>
                  <a:pt x="7844" y="2409623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E3F4977-7522-38F6-E072-B5FA042CAD74}"/>
              </a:ext>
            </a:extLst>
          </p:cNvPr>
          <p:cNvGrpSpPr/>
          <p:nvPr/>
        </p:nvGrpSpPr>
        <p:grpSpPr>
          <a:xfrm>
            <a:off x="165100" y="3538483"/>
            <a:ext cx="10186525" cy="3085035"/>
            <a:chOff x="1840375" y="3538483"/>
            <a:chExt cx="10186525" cy="308503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9C6842-0F7D-9479-3015-76852E8626B3}"/>
                </a:ext>
              </a:extLst>
            </p:cNvPr>
            <p:cNvSpPr/>
            <p:nvPr/>
          </p:nvSpPr>
          <p:spPr>
            <a:xfrm>
              <a:off x="1840375" y="3538483"/>
              <a:ext cx="10186525" cy="3085035"/>
            </a:xfrm>
            <a:prstGeom prst="rect">
              <a:avLst/>
            </a:prstGeom>
            <a:solidFill>
              <a:srgbClr val="EBC2CC"/>
            </a:solidFill>
            <a:ln w="762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FDD4D73-EAB3-4D7B-66CA-F620F8D5D931}"/>
                </a:ext>
              </a:extLst>
            </p:cNvPr>
            <p:cNvSpPr/>
            <p:nvPr/>
          </p:nvSpPr>
          <p:spPr>
            <a:xfrm>
              <a:off x="2003185" y="3634937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Digital </a:t>
              </a:r>
              <a:r>
                <a:rPr lang="pt-BR" sz="1100" dirty="0" err="1">
                  <a:solidFill>
                    <a:schemeClr val="tx1"/>
                  </a:solidFill>
                </a:rPr>
                <a:t>Infrastructure</a:t>
              </a:r>
              <a:endParaRPr lang="pt-BR" sz="11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1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k </a:t>
              </a:r>
              <a:r>
                <a:rPr lang="pt-BR" sz="110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Jadão</a:t>
              </a:r>
              <a:endParaRPr lang="en-US" sz="11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FEE0DD-308A-9559-8A0A-CCDCBB596D00}"/>
                </a:ext>
              </a:extLst>
            </p:cNvPr>
            <p:cNvSpPr/>
            <p:nvPr/>
          </p:nvSpPr>
          <p:spPr>
            <a:xfrm>
              <a:off x="367288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hatiane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90D5733-9989-768C-9D37-98465CC84FA3}"/>
                </a:ext>
              </a:extLst>
            </p:cNvPr>
            <p:cNvSpPr/>
            <p:nvPr/>
          </p:nvSpPr>
          <p:spPr>
            <a:xfrm>
              <a:off x="4458241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iago Lopes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F700F11-610D-AF59-BF26-5817B8BB3234}"/>
                </a:ext>
              </a:extLst>
            </p:cNvPr>
            <p:cNvSpPr/>
            <p:nvPr/>
          </p:nvSpPr>
          <p:spPr>
            <a:xfrm>
              <a:off x="367288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pplication</a:t>
              </a:r>
              <a:r>
                <a:rPr lang="pt-BR" sz="1000" dirty="0">
                  <a:solidFill>
                    <a:schemeClr val="tx1"/>
                  </a:solidFill>
                </a:rPr>
                <a:t> Server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DC3AA5F-2F2E-D677-0A1E-44CCD8411387}"/>
                </a:ext>
              </a:extLst>
            </p:cNvPr>
            <p:cNvSpPr/>
            <p:nvPr/>
          </p:nvSpPr>
          <p:spPr>
            <a:xfrm>
              <a:off x="533495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riel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1CC1019-83DE-3F83-6FBC-4378576F3977}"/>
                </a:ext>
              </a:extLst>
            </p:cNvPr>
            <p:cNvSpPr/>
            <p:nvPr/>
          </p:nvSpPr>
          <p:spPr>
            <a:xfrm>
              <a:off x="6120310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Layana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9C56A46-A591-6D7E-87ED-1B71B532BE6D}"/>
                </a:ext>
              </a:extLst>
            </p:cNvPr>
            <p:cNvSpPr/>
            <p:nvPr/>
          </p:nvSpPr>
          <p:spPr>
            <a:xfrm>
              <a:off x="533495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API Management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A3EFD8EB-1224-331E-8BE2-1EC535E699CF}"/>
                </a:ext>
              </a:extLst>
            </p:cNvPr>
            <p:cNvCxnSpPr>
              <a:cxnSpLocks/>
              <a:stCxn id="18" idx="2"/>
              <a:endCxn id="16" idx="0"/>
            </p:cNvCxnSpPr>
            <p:nvPr/>
          </p:nvCxnSpPr>
          <p:spPr>
            <a:xfrm flipH="1">
              <a:off x="4043683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2385A058-C7FB-5622-AD3A-95993EC50199}"/>
                </a:ext>
              </a:extLst>
            </p:cNvPr>
            <p:cNvCxnSpPr>
              <a:cxnSpLocks/>
              <a:stCxn id="18" idx="2"/>
              <a:endCxn id="17" idx="0"/>
            </p:cNvCxnSpPr>
            <p:nvPr/>
          </p:nvCxnSpPr>
          <p:spPr>
            <a:xfrm>
              <a:off x="4436361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B8B77D55-C66C-E95E-16FC-813A44BE023E}"/>
                </a:ext>
              </a:extLst>
            </p:cNvPr>
            <p:cNvCxnSpPr>
              <a:cxnSpLocks/>
              <a:stCxn id="21" idx="2"/>
              <a:endCxn id="20" idx="0"/>
            </p:cNvCxnSpPr>
            <p:nvPr/>
          </p:nvCxnSpPr>
          <p:spPr>
            <a:xfrm>
              <a:off x="609843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99667E78-D60A-1091-99D4-5DA62D790F8B}"/>
                </a:ext>
              </a:extLst>
            </p:cNvPr>
            <p:cNvCxnSpPr>
              <a:cxnSpLocks/>
              <a:stCxn id="21" idx="2"/>
              <a:endCxn id="19" idx="0"/>
            </p:cNvCxnSpPr>
            <p:nvPr/>
          </p:nvCxnSpPr>
          <p:spPr>
            <a:xfrm flipH="1">
              <a:off x="570575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19B7E63-5A31-9C0C-63F1-FE252AEECD8E}"/>
                </a:ext>
              </a:extLst>
            </p:cNvPr>
            <p:cNvSpPr/>
            <p:nvPr/>
          </p:nvSpPr>
          <p:spPr>
            <a:xfrm>
              <a:off x="7012282" y="5320930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Marcia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Fernando 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</a:rPr>
                <a:t>PO</a:t>
              </a:r>
              <a:endParaRPr lang="en-US" sz="700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8B505ED1-7AD1-8C39-1A45-961B238362B0}"/>
                </a:ext>
              </a:extLst>
            </p:cNvPr>
            <p:cNvCxnSpPr>
              <a:cxnSpLocks/>
              <a:stCxn id="42" idx="2"/>
              <a:endCxn id="31" idx="0"/>
            </p:cNvCxnSpPr>
            <p:nvPr/>
          </p:nvCxnSpPr>
          <p:spPr>
            <a:xfrm flipH="1">
              <a:off x="7383082" y="5128304"/>
              <a:ext cx="370798" cy="19262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DB214E2-10EC-02FB-39ED-DA6E2EF28F35}"/>
                </a:ext>
              </a:extLst>
            </p:cNvPr>
            <p:cNvSpPr/>
            <p:nvPr/>
          </p:nvSpPr>
          <p:spPr>
            <a:xfrm>
              <a:off x="2003185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Rafael DG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6CBF4E8-C8B4-ED06-355E-3A2C919F903E}"/>
                </a:ext>
              </a:extLst>
            </p:cNvPr>
            <p:cNvSpPr/>
            <p:nvPr/>
          </p:nvSpPr>
          <p:spPr>
            <a:xfrm>
              <a:off x="2788542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aldo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3FDD4CD-4988-0198-642D-0BB038B2B205}"/>
                </a:ext>
              </a:extLst>
            </p:cNvPr>
            <p:cNvSpPr/>
            <p:nvPr/>
          </p:nvSpPr>
          <p:spPr>
            <a:xfrm>
              <a:off x="2003185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Integração </a:t>
              </a:r>
              <a:r>
                <a:rPr lang="pt-BR" sz="1000">
                  <a:solidFill>
                    <a:schemeClr val="tx1"/>
                  </a:solidFill>
                </a:rPr>
                <a:t>e Conectividade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1A6054BD-1A2A-FD6A-B434-73073BB7333A}"/>
                </a:ext>
              </a:extLst>
            </p:cNvPr>
            <p:cNvCxnSpPr>
              <a:cxnSpLocks/>
              <a:stCxn id="35" idx="2"/>
              <a:endCxn id="33" idx="0"/>
            </p:cNvCxnSpPr>
            <p:nvPr/>
          </p:nvCxnSpPr>
          <p:spPr>
            <a:xfrm flipH="1">
              <a:off x="237398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2647683A-F5E1-5074-D66D-8AA3B4BEDAF8}"/>
                </a:ext>
              </a:extLst>
            </p:cNvPr>
            <p:cNvCxnSpPr>
              <a:cxnSpLocks/>
              <a:stCxn id="35" idx="2"/>
              <a:endCxn id="34" idx="0"/>
            </p:cNvCxnSpPr>
            <p:nvPr/>
          </p:nvCxnSpPr>
          <p:spPr>
            <a:xfrm>
              <a:off x="276666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AAC7657-3B03-4FAB-7647-274B70736632}"/>
                </a:ext>
              </a:extLst>
            </p:cNvPr>
            <p:cNvSpPr/>
            <p:nvPr/>
          </p:nvSpPr>
          <p:spPr>
            <a:xfrm>
              <a:off x="367288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BPM, WAS, </a:t>
              </a:r>
              <a:r>
                <a:rPr lang="pt-BR" sz="1000" dirty="0" err="1">
                  <a:solidFill>
                    <a:schemeClr val="tx1"/>
                  </a:solidFill>
                </a:rPr>
                <a:t>Filenet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7D6A002-E82D-4AB4-F319-52AC77D3D959}"/>
                </a:ext>
              </a:extLst>
            </p:cNvPr>
            <p:cNvSpPr/>
            <p:nvPr/>
          </p:nvSpPr>
          <p:spPr>
            <a:xfrm>
              <a:off x="533495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xway</a:t>
              </a:r>
              <a:r>
                <a:rPr lang="pt-BR" sz="1000" dirty="0">
                  <a:solidFill>
                    <a:schemeClr val="tx1"/>
                  </a:solidFill>
                </a:rPr>
                <a:t>, AP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BA073F7-1471-84E1-2900-9C9F7A106C7B}"/>
                </a:ext>
              </a:extLst>
            </p:cNvPr>
            <p:cNvSpPr/>
            <p:nvPr/>
          </p:nvSpPr>
          <p:spPr>
            <a:xfrm>
              <a:off x="2003185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Confluent</a:t>
              </a:r>
              <a:r>
                <a:rPr lang="pt-BR" sz="1000" dirty="0">
                  <a:solidFill>
                    <a:schemeClr val="tx1"/>
                  </a:solidFill>
                </a:rPr>
                <a:t>/Kafka, Event </a:t>
              </a:r>
              <a:r>
                <a:rPr lang="pt-BR" sz="1000" dirty="0" err="1">
                  <a:solidFill>
                    <a:schemeClr val="tx1"/>
                  </a:solidFill>
                </a:rPr>
                <a:t>Stream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MQ, </a:t>
              </a:r>
              <a:r>
                <a:rPr lang="pt-BR" sz="1000" dirty="0" err="1">
                  <a:solidFill>
                    <a:schemeClr val="tx1"/>
                  </a:solidFill>
                </a:rPr>
                <a:t>Datapower</a:t>
              </a:r>
              <a:r>
                <a:rPr lang="pt-BR" sz="1000" dirty="0">
                  <a:solidFill>
                    <a:schemeClr val="tx1"/>
                  </a:solidFill>
                </a:rPr>
                <a:t>, Azure Service Bus, ACE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2E28E4C-28EF-1EF1-F3C0-ABAD144D1C4C}"/>
                </a:ext>
              </a:extLst>
            </p:cNvPr>
            <p:cNvSpPr/>
            <p:nvPr/>
          </p:nvSpPr>
          <p:spPr>
            <a:xfrm>
              <a:off x="6990403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FinOps</a:t>
              </a:r>
              <a:r>
                <a:rPr lang="pt-BR" sz="1000" dirty="0">
                  <a:solidFill>
                    <a:schemeClr val="tx1"/>
                  </a:solidFill>
                </a:rPr>
                <a:t> Tool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ré Cabral 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E8C50DF-C436-F575-9D55-0D77FB6320AF}"/>
                </a:ext>
              </a:extLst>
            </p:cNvPr>
            <p:cNvSpPr/>
            <p:nvPr/>
          </p:nvSpPr>
          <p:spPr>
            <a:xfrm>
              <a:off x="7831419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solidFill>
                    <a:schemeClr val="tx1"/>
                  </a:solidFill>
                  <a:highlight>
                    <a:srgbClr val="FFFF00"/>
                  </a:highlight>
                </a:rPr>
                <a:t>Tiago</a:t>
              </a:r>
              <a:endParaRPr lang="pt-BR" sz="9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510518F6-BBCD-F807-F420-C7BA778F7C77}"/>
                </a:ext>
              </a:extLst>
            </p:cNvPr>
            <p:cNvCxnSpPr>
              <a:cxnSpLocks/>
              <a:stCxn id="42" idx="2"/>
              <a:endCxn id="43" idx="0"/>
            </p:cNvCxnSpPr>
            <p:nvPr/>
          </p:nvCxnSpPr>
          <p:spPr>
            <a:xfrm>
              <a:off x="7753880" y="5128304"/>
              <a:ext cx="448337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7FE6D33-A99B-A9EB-85A5-9220B5AABD83}"/>
                </a:ext>
              </a:extLst>
            </p:cNvPr>
            <p:cNvSpPr/>
            <p:nvPr/>
          </p:nvSpPr>
          <p:spPr>
            <a:xfrm>
              <a:off x="7012282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Turbonom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2F5023E-2B5C-8655-2322-FBA885396C17}"/>
                </a:ext>
              </a:extLst>
            </p:cNvPr>
            <p:cNvSpPr/>
            <p:nvPr/>
          </p:nvSpPr>
          <p:spPr>
            <a:xfrm>
              <a:off x="8714021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6E7067C-6B03-AAEC-7A6B-C8787F02FA90}"/>
                </a:ext>
              </a:extLst>
            </p:cNvPr>
            <p:cNvSpPr/>
            <p:nvPr/>
          </p:nvSpPr>
          <p:spPr>
            <a:xfrm>
              <a:off x="9490999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C7B72AD-10EC-21AD-9B8C-617BEA931C2D}"/>
                </a:ext>
              </a:extLst>
            </p:cNvPr>
            <p:cNvSpPr/>
            <p:nvPr/>
          </p:nvSpPr>
          <p:spPr>
            <a:xfrm>
              <a:off x="8714021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105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 Shimizu CLP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21EB3F8E-9FD5-D6EB-2533-9DC5BF1B75E4}"/>
                </a:ext>
              </a:extLst>
            </p:cNvPr>
            <p:cNvCxnSpPr>
              <a:cxnSpLocks/>
              <a:stCxn id="48" idx="2"/>
              <a:endCxn id="46" idx="0"/>
            </p:cNvCxnSpPr>
            <p:nvPr/>
          </p:nvCxnSpPr>
          <p:spPr>
            <a:xfrm flipH="1">
              <a:off x="9080864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D612945A-F4AC-3233-0ABF-0ABC3723551A}"/>
                </a:ext>
              </a:extLst>
            </p:cNvPr>
            <p:cNvCxnSpPr>
              <a:cxnSpLocks/>
              <a:stCxn id="48" idx="2"/>
              <a:endCxn id="47" idx="0"/>
            </p:cNvCxnSpPr>
            <p:nvPr/>
          </p:nvCxnSpPr>
          <p:spPr>
            <a:xfrm>
              <a:off x="9469353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277B849-959B-DDC6-A3C1-F4B26E026C74}"/>
                </a:ext>
              </a:extLst>
            </p:cNvPr>
            <p:cNvSpPr/>
            <p:nvPr/>
          </p:nvSpPr>
          <p:spPr>
            <a:xfrm>
              <a:off x="8714021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Azure, IBM Cloud, Google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754271D-56E2-3620-C22A-88E0EDC89C85}"/>
                </a:ext>
              </a:extLst>
            </p:cNvPr>
            <p:cNvSpPr/>
            <p:nvPr/>
          </p:nvSpPr>
          <p:spPr>
            <a:xfrm>
              <a:off x="10376540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4890110-0566-CDC2-6EB0-BDF17B93112E}"/>
                </a:ext>
              </a:extLst>
            </p:cNvPr>
            <p:cNvSpPr/>
            <p:nvPr/>
          </p:nvSpPr>
          <p:spPr>
            <a:xfrm>
              <a:off x="11153516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CEFA2F3-6411-BA25-1E39-9E9660EB5FEC}"/>
                </a:ext>
              </a:extLst>
            </p:cNvPr>
            <p:cNvSpPr/>
            <p:nvPr/>
          </p:nvSpPr>
          <p:spPr>
            <a:xfrm>
              <a:off x="10376540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 as Service CAS</a:t>
              </a:r>
            </a:p>
            <a:p>
              <a:pPr algn="ctr"/>
              <a:r>
                <a:rPr lang="pt-BR" sz="105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Bettini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2049C991-11B8-BC44-8956-B217FA58E5E7}"/>
                </a:ext>
              </a:extLst>
            </p:cNvPr>
            <p:cNvCxnSpPr>
              <a:cxnSpLocks/>
              <a:stCxn id="54" idx="2"/>
              <a:endCxn id="52" idx="0"/>
            </p:cNvCxnSpPr>
            <p:nvPr/>
          </p:nvCxnSpPr>
          <p:spPr>
            <a:xfrm flipH="1">
              <a:off x="10743382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725E6037-D997-CAA1-0B6D-3096CEE0290A}"/>
                </a:ext>
              </a:extLst>
            </p:cNvPr>
            <p:cNvCxnSpPr>
              <a:cxnSpLocks/>
              <a:stCxn id="54" idx="2"/>
              <a:endCxn id="53" idx="0"/>
            </p:cNvCxnSpPr>
            <p:nvPr/>
          </p:nvCxnSpPr>
          <p:spPr>
            <a:xfrm>
              <a:off x="11131870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062D8C7-7C72-BBCE-1033-4DFA5FB29F6C}"/>
                </a:ext>
              </a:extLst>
            </p:cNvPr>
            <p:cNvSpPr/>
            <p:nvPr/>
          </p:nvSpPr>
          <p:spPr>
            <a:xfrm>
              <a:off x="10376540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47473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D439E51-5A23-AED5-52C0-8DAB6FF02692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850CDB86-5E03-79C2-4D3B-5E462E1B3E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A74E7CE-6F9B-6C99-1C62-599F74316A62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B2533FC-0990-8072-7C06-3D0A31E1129F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BE51CC3-9413-C7CF-F5DA-93B87297F6B8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E6A1147-754F-71AB-77F5-073AC374FC59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2BF2E5A-8FF2-7A67-2898-ED300F47AA32}"/>
              </a:ext>
            </a:extLst>
          </p:cNvPr>
          <p:cNvSpPr/>
          <p:nvPr/>
        </p:nvSpPr>
        <p:spPr>
          <a:xfrm>
            <a:off x="876654" y="745397"/>
            <a:ext cx="740616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17284 w 1085205"/>
              <a:gd name="connsiteY0" fmla="*/ 2409623 h 5262282"/>
              <a:gd name="connsiteX1" fmla="*/ 0 w 1085205"/>
              <a:gd name="connsiteY1" fmla="*/ 1175488 h 5262282"/>
              <a:gd name="connsiteX2" fmla="*/ 1085205 w 1085205"/>
              <a:gd name="connsiteY2" fmla="*/ 0 h 5262282"/>
              <a:gd name="connsiteX3" fmla="*/ 1076240 w 1085205"/>
              <a:gd name="connsiteY3" fmla="*/ 5262282 h 5262282"/>
              <a:gd name="connsiteX4" fmla="*/ 17284 w 1085205"/>
              <a:gd name="connsiteY4" fmla="*/ 2409623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959" h="5262282">
                <a:moveTo>
                  <a:pt x="0" y="1718552"/>
                </a:moveTo>
                <a:lnTo>
                  <a:pt x="15754" y="1175488"/>
                </a:lnTo>
                <a:cubicBezTo>
                  <a:pt x="648089" y="482743"/>
                  <a:pt x="529982" y="518421"/>
                  <a:pt x="1100959" y="0"/>
                </a:cubicBezTo>
                <a:cubicBezTo>
                  <a:pt x="1097971" y="1754094"/>
                  <a:pt x="1094982" y="3508188"/>
                  <a:pt x="1091994" y="5262282"/>
                </a:cubicBezTo>
                <a:lnTo>
                  <a:pt x="0" y="1718552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2A82C1-C738-B5C4-5877-01A66647261D}"/>
              </a:ext>
            </a:extLst>
          </p:cNvPr>
          <p:cNvSpPr/>
          <p:nvPr/>
        </p:nvSpPr>
        <p:spPr>
          <a:xfrm>
            <a:off x="165100" y="3538483"/>
            <a:ext cx="11781188" cy="3085035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A8E4F1-BE66-2659-7827-DEAA907F74D5}"/>
              </a:ext>
            </a:extLst>
          </p:cNvPr>
          <p:cNvSpPr/>
          <p:nvPr/>
        </p:nvSpPr>
        <p:spPr>
          <a:xfrm>
            <a:off x="2719176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406913-57E9-4AF0-E060-CB359FAB7145}"/>
              </a:ext>
            </a:extLst>
          </p:cNvPr>
          <p:cNvSpPr/>
          <p:nvPr/>
        </p:nvSpPr>
        <p:spPr>
          <a:xfrm>
            <a:off x="3818194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D1CD02-82E2-3B9B-5D78-68C7E6E4E931}"/>
              </a:ext>
            </a:extLst>
          </p:cNvPr>
          <p:cNvSpPr/>
          <p:nvPr/>
        </p:nvSpPr>
        <p:spPr>
          <a:xfrm>
            <a:off x="2719176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Atual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oreti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07FEFF2-9A0D-B3A8-C77F-5F5D8F12052D}"/>
              </a:ext>
            </a:extLst>
          </p:cNvPr>
          <p:cNvCxnSpPr>
            <a:cxnSpLocks/>
            <a:stCxn id="14" idx="2"/>
            <a:endCxn id="12" idx="0"/>
          </p:cNvCxnSpPr>
          <p:nvPr/>
        </p:nvCxnSpPr>
        <p:spPr>
          <a:xfrm flipH="1">
            <a:off x="3238067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EF9AFF0-256D-068D-56CE-41E72CF54589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>
            <a:off x="37875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D620D04-5830-7AD1-2606-ABDD13A3D072}"/>
              </a:ext>
            </a:extLst>
          </p:cNvPr>
          <p:cNvSpPr/>
          <p:nvPr/>
        </p:nvSpPr>
        <p:spPr>
          <a:xfrm>
            <a:off x="337785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0260FD1-6B5F-41CB-466F-ECDC4D6D229B}"/>
              </a:ext>
            </a:extLst>
          </p:cNvPr>
          <p:cNvSpPr/>
          <p:nvPr/>
        </p:nvSpPr>
        <p:spPr>
          <a:xfrm>
            <a:off x="1436803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06BBD4D-6A19-C096-CA94-233C70A0D31A}"/>
              </a:ext>
            </a:extLst>
          </p:cNvPr>
          <p:cNvSpPr/>
          <p:nvPr/>
        </p:nvSpPr>
        <p:spPr>
          <a:xfrm>
            <a:off x="337785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Novo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anfio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89CA79C-D87D-45A6-943F-B8267968EDFB}"/>
              </a:ext>
            </a:extLst>
          </p:cNvPr>
          <p:cNvCxnSpPr>
            <a:cxnSpLocks/>
            <a:stCxn id="19" idx="2"/>
            <a:endCxn id="17" idx="0"/>
          </p:cNvCxnSpPr>
          <p:nvPr/>
        </p:nvCxnSpPr>
        <p:spPr>
          <a:xfrm flipH="1">
            <a:off x="8566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FE5B11F-E771-81AB-4BA4-D97C34DC5B38}"/>
              </a:ext>
            </a:extLst>
          </p:cNvPr>
          <p:cNvCxnSpPr>
            <a:cxnSpLocks/>
            <a:stCxn id="19" idx="2"/>
            <a:endCxn id="18" idx="0"/>
          </p:cNvCxnSpPr>
          <p:nvPr/>
        </p:nvCxnSpPr>
        <p:spPr>
          <a:xfrm>
            <a:off x="1406185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DC32CD7-1885-37C1-A0A6-63DFE378CC43}"/>
              </a:ext>
            </a:extLst>
          </p:cNvPr>
          <p:cNvSpPr/>
          <p:nvPr/>
        </p:nvSpPr>
        <p:spPr>
          <a:xfrm>
            <a:off x="2719176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BB5918-612F-4BA8-FA0F-1C7D5EA1AA7E}"/>
              </a:ext>
            </a:extLst>
          </p:cNvPr>
          <p:cNvSpPr/>
          <p:nvPr/>
        </p:nvSpPr>
        <p:spPr>
          <a:xfrm>
            <a:off x="337785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EC6FC3-C1DE-6610-6551-A1638318ED0D}"/>
              </a:ext>
            </a:extLst>
          </p:cNvPr>
          <p:cNvSpPr/>
          <p:nvPr/>
        </p:nvSpPr>
        <p:spPr>
          <a:xfrm>
            <a:off x="337784" y="3692812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latform </a:t>
            </a:r>
            <a:r>
              <a:rPr lang="pt-BR" sz="1400" dirty="0" err="1">
                <a:solidFill>
                  <a:schemeClr val="tx1"/>
                </a:solidFill>
              </a:rPr>
              <a:t>Engineering</a:t>
            </a:r>
            <a:endParaRPr lang="pt-BR" sz="1400" dirty="0">
              <a:solidFill>
                <a:schemeClr val="tx1"/>
              </a:solidFill>
            </a:endParaRPr>
          </a:p>
          <a:p>
            <a:pPr algn="ctr"/>
            <a:r>
              <a:rPr lang="pt-BR" sz="1400" dirty="0">
                <a:solidFill>
                  <a:schemeClr val="tx1"/>
                </a:solidFill>
                <a:highlight>
                  <a:srgbClr val="00FF00"/>
                </a:highlight>
              </a:rPr>
              <a:t>Nelson</a:t>
            </a:r>
            <a:endParaRPr lang="en-US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3C12975-1108-D113-235E-D126F32694AB}"/>
              </a:ext>
            </a:extLst>
          </p:cNvPr>
          <p:cNvSpPr/>
          <p:nvPr/>
        </p:nvSpPr>
        <p:spPr>
          <a:xfrm>
            <a:off x="1643469" y="732752"/>
            <a:ext cx="4650658" cy="2671320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972A116-084C-0E81-FBB2-EEC357BB631B}"/>
              </a:ext>
            </a:extLst>
          </p:cNvPr>
          <p:cNvSpPr/>
          <p:nvPr/>
        </p:nvSpPr>
        <p:spPr>
          <a:xfrm>
            <a:off x="7277548" y="1118853"/>
            <a:ext cx="186771" cy="186771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94DA6A3-B696-24B2-EC18-40862206033A}"/>
              </a:ext>
            </a:extLst>
          </p:cNvPr>
          <p:cNvSpPr/>
          <p:nvPr/>
        </p:nvSpPr>
        <p:spPr>
          <a:xfrm>
            <a:off x="5095477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0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Produto PO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71C5F80-D853-579A-F7AD-A66B38733814}"/>
              </a:ext>
            </a:extLst>
          </p:cNvPr>
          <p:cNvCxnSpPr>
            <a:cxnSpLocks/>
            <a:stCxn id="29" idx="2"/>
            <a:endCxn id="27" idx="0"/>
          </p:cNvCxnSpPr>
          <p:nvPr/>
        </p:nvCxnSpPr>
        <p:spPr>
          <a:xfrm flipH="1">
            <a:off x="5528099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8A72AD78-2FE4-6C05-EDD3-A9AE786F2971}"/>
              </a:ext>
            </a:extLst>
          </p:cNvPr>
          <p:cNvSpPr/>
          <p:nvPr/>
        </p:nvSpPr>
        <p:spPr>
          <a:xfrm>
            <a:off x="5069949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Observabilidade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strike="sngStrike" dirty="0">
                <a:solidFill>
                  <a:schemeClr val="tx1"/>
                </a:solidFill>
                <a:highlight>
                  <a:srgbClr val="00FF00"/>
                </a:highlight>
              </a:rPr>
              <a:t>Eliel</a:t>
            </a:r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  <a:sym typeface="Wingdings" panose="05000000000000000000" pitchFamily="2" charset="2"/>
              </a:rPr>
              <a:t>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</a:rPr>
              <a:t>Richard</a:t>
            </a:r>
            <a:r>
              <a:rPr lang="pt-BR" sz="120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1B06A25-93C0-5879-3DAD-A591167B4B86}"/>
              </a:ext>
            </a:extLst>
          </p:cNvPr>
          <p:cNvSpPr/>
          <p:nvPr/>
        </p:nvSpPr>
        <p:spPr>
          <a:xfrm>
            <a:off x="6051186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1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100" dirty="0">
                <a:solidFill>
                  <a:schemeClr val="tx1"/>
                </a:solidFill>
              </a:rPr>
              <a:t>Serviço SM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1FCDF29-D107-D557-C9BA-FA6D5ADBB612}"/>
              </a:ext>
            </a:extLst>
          </p:cNvPr>
          <p:cNvCxnSpPr>
            <a:cxnSpLocks/>
            <a:stCxn id="29" idx="2"/>
            <a:endCxn id="30" idx="0"/>
          </p:cNvCxnSpPr>
          <p:nvPr/>
        </p:nvCxnSpPr>
        <p:spPr>
          <a:xfrm>
            <a:off x="5960720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3DD84211-1151-7BB6-47EC-0294DF5B67EF}"/>
              </a:ext>
            </a:extLst>
          </p:cNvPr>
          <p:cNvSpPr/>
          <p:nvPr/>
        </p:nvSpPr>
        <p:spPr>
          <a:xfrm>
            <a:off x="5095477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Dynatrac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Instana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Databand</a:t>
            </a:r>
            <a:r>
              <a:rPr lang="pt-BR" sz="1200" dirty="0">
                <a:solidFill>
                  <a:schemeClr val="tx1"/>
                </a:solidFill>
              </a:rPr>
              <a:t>?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3BF529A-F22E-D543-6FB3-5EB79C60300F}"/>
              </a:ext>
            </a:extLst>
          </p:cNvPr>
          <p:cNvSpPr/>
          <p:nvPr/>
        </p:nvSpPr>
        <p:spPr>
          <a:xfrm>
            <a:off x="7100081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</a:rPr>
              <a:t>Guilherme Santos</a:t>
            </a:r>
          </a:p>
          <a:p>
            <a:pPr algn="ctr"/>
            <a:r>
              <a:rPr lang="pt-BR" sz="900" dirty="0">
                <a:solidFill>
                  <a:schemeClr val="tx1"/>
                </a:solidFill>
              </a:rPr>
              <a:t>Produto PO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36507B9-0B31-CD08-3957-D10490EB8209}"/>
              </a:ext>
            </a:extLst>
          </p:cNvPr>
          <p:cNvCxnSpPr>
            <a:cxnSpLocks/>
            <a:stCxn id="35" idx="2"/>
            <a:endCxn id="33" idx="0"/>
          </p:cNvCxnSpPr>
          <p:nvPr/>
        </p:nvCxnSpPr>
        <p:spPr>
          <a:xfrm flipH="1">
            <a:off x="7532703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64170F5C-2902-715C-F005-771BBE7928CB}"/>
              </a:ext>
            </a:extLst>
          </p:cNvPr>
          <p:cNvSpPr/>
          <p:nvPr/>
        </p:nvSpPr>
        <p:spPr>
          <a:xfrm>
            <a:off x="7074553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eX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Gustavo Farias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BA39469-75CA-54D4-24FD-A7C167631331}"/>
              </a:ext>
            </a:extLst>
          </p:cNvPr>
          <p:cNvSpPr/>
          <p:nvPr/>
        </p:nvSpPr>
        <p:spPr>
          <a:xfrm>
            <a:off x="8055790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Gustavo Leal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Serviço SM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7B770A8-8B8A-00F6-189B-D0C1B472C385}"/>
              </a:ext>
            </a:extLst>
          </p:cNvPr>
          <p:cNvCxnSpPr>
            <a:cxnSpLocks/>
            <a:stCxn id="35" idx="2"/>
            <a:endCxn id="36" idx="0"/>
          </p:cNvCxnSpPr>
          <p:nvPr/>
        </p:nvCxnSpPr>
        <p:spPr>
          <a:xfrm>
            <a:off x="7965324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FAA17A0B-9E25-4B21-07C0-021546CF1AA0}"/>
              </a:ext>
            </a:extLst>
          </p:cNvPr>
          <p:cNvSpPr/>
          <p:nvPr/>
        </p:nvSpPr>
        <p:spPr>
          <a:xfrm>
            <a:off x="7100081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ackstag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Redhat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r>
              <a:rPr lang="pt-BR" sz="1200" dirty="0" err="1">
                <a:solidFill>
                  <a:schemeClr val="tx1"/>
                </a:solidFill>
              </a:rPr>
              <a:t>Developer</a:t>
            </a:r>
            <a:r>
              <a:rPr lang="pt-BR" sz="1200" dirty="0">
                <a:solidFill>
                  <a:schemeClr val="tx1"/>
                </a:solidFill>
              </a:rPr>
              <a:t> Hub, RHEL Desktop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027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290</TotalTime>
  <Words>4897</Words>
  <Application>Microsoft Office PowerPoint</Application>
  <PresentationFormat>Widescreen</PresentationFormat>
  <Paragraphs>2089</Paragraphs>
  <Slides>37</Slides>
  <Notes>4</Notes>
  <HiddenSlides>7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58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valiação do CSM &amp; Grupos de discussões           CSM evaluation &amp; Groups</vt:lpstr>
      <vt:lpstr>Referências Externas (Ex: Gartner)            External references </vt:lpstr>
      <vt:lpstr>Exemplos de uso de licenças nos Cloud Paks            CSM license usages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10</cp:revision>
  <dcterms:created xsi:type="dcterms:W3CDTF">2023-12-08T17:08:25Z</dcterms:created>
  <dcterms:modified xsi:type="dcterms:W3CDTF">2025-08-12T12:14:40Z</dcterms:modified>
</cp:coreProperties>
</file>